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rts/chart1.xml" ContentType="application/vnd.openxmlformats-officedocument.drawingml.chart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charts/chart3.xml" ContentType="application/vnd.openxmlformats-officedocument.drawingml.chart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notesSlides/notesSlide7.xml" ContentType="application/vnd.openxmlformats-officedocument.presentationml.notesSlide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26.xml" ContentType="application/vnd.openxmlformats-officedocument.presentationml.tags+xml"/>
  <Override PartName="/ppt/notesSlides/notesSlide9.xml" ContentType="application/vnd.openxmlformats-officedocument.presentationml.notesSl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notesSlides/notesSlide12.xml" ContentType="application/vnd.openxmlformats-officedocument.presentationml.notesSlide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6.xml" ContentType="application/vnd.openxmlformats-officedocument.drawingml.chart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7.xml" ContentType="application/vnd.openxmlformats-officedocument.drawingml.chart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20.xml" ContentType="application/vnd.openxmlformats-officedocument.drawingml.chart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21.xml" ContentType="application/vnd.openxmlformats-officedocument.drawingml.chart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notesSlides/notesSlide18.xml" ContentType="application/vnd.openxmlformats-officedocument.presentationml.notesSlide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charts/chart28.xml" ContentType="application/vnd.openxmlformats-officedocument.drawingml.chart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charts/chart33.xml" ContentType="application/vnd.openxmlformats-officedocument.drawingml.chart+xml"/>
  <Override PartName="/ppt/tags/tag1312.xml" ContentType="application/vnd.openxmlformats-officedocument.presentationml.tags+xml"/>
  <Override PartName="/ppt/notesSlides/notesSlide23.xml" ContentType="application/vnd.openxmlformats-officedocument.presentationml.notesSlide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notesSlides/notesSlide24.xml" ContentType="application/vnd.openxmlformats-officedocument.presentationml.notesSlide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notesSlides/notesSlide25.xml" ContentType="application/vnd.openxmlformats-officedocument.presentationml.notesSlide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8" r:id="rId3"/>
  </p:sldMasterIdLst>
  <p:notesMasterIdLst>
    <p:notesMasterId r:id="rId45"/>
  </p:notesMasterIdLst>
  <p:sldIdLst>
    <p:sldId id="256" r:id="rId4"/>
    <p:sldId id="547" r:id="rId5"/>
    <p:sldId id="339" r:id="rId6"/>
    <p:sldId id="340" r:id="rId7"/>
    <p:sldId id="573" r:id="rId8"/>
    <p:sldId id="572" r:id="rId9"/>
    <p:sldId id="579" r:id="rId10"/>
    <p:sldId id="574" r:id="rId11"/>
    <p:sldId id="580" r:id="rId12"/>
    <p:sldId id="578" r:id="rId13"/>
    <p:sldId id="441" r:id="rId14"/>
    <p:sldId id="524" r:id="rId15"/>
    <p:sldId id="593" r:id="rId16"/>
    <p:sldId id="464" r:id="rId17"/>
    <p:sldId id="543" r:id="rId18"/>
    <p:sldId id="500" r:id="rId19"/>
    <p:sldId id="466" r:id="rId20"/>
    <p:sldId id="567" r:id="rId21"/>
    <p:sldId id="554" r:id="rId22"/>
    <p:sldId id="467" r:id="rId23"/>
    <p:sldId id="468" r:id="rId24"/>
    <p:sldId id="343" r:id="rId25"/>
    <p:sldId id="476" r:id="rId26"/>
    <p:sldId id="482" r:id="rId27"/>
    <p:sldId id="511" r:id="rId28"/>
    <p:sldId id="596" r:id="rId29"/>
    <p:sldId id="560" r:id="rId30"/>
    <p:sldId id="594" r:id="rId31"/>
    <p:sldId id="486" r:id="rId32"/>
    <p:sldId id="487" r:id="rId33"/>
    <p:sldId id="491" r:id="rId34"/>
    <p:sldId id="492" r:id="rId35"/>
    <p:sldId id="519" r:id="rId36"/>
    <p:sldId id="489" r:id="rId37"/>
    <p:sldId id="490" r:id="rId38"/>
    <p:sldId id="520" r:id="rId39"/>
    <p:sldId id="595" r:id="rId40"/>
    <p:sldId id="583" r:id="rId41"/>
    <p:sldId id="584" r:id="rId42"/>
    <p:sldId id="585" r:id="rId43"/>
    <p:sldId id="454" r:id="rId44"/>
  </p:sldIdLst>
  <p:sldSz cx="12192000" cy="6858000"/>
  <p:notesSz cx="6858000" cy="9144000"/>
  <p:custDataLst>
    <p:tags r:id="rId4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chel Knapp" initials="RK" lastIdx="18" clrIdx="0"/>
  <p:cmAuthor id="2" name="Osama Afaneh" initials="OA" lastIdx="24" clrIdx="1"/>
  <p:cmAuthor id="3" name="araymond@clintonhealthaccess.org" initials="a" lastIdx="7" clrIdx="2"/>
  <p:cmAuthor id="4" name="Osama" initials="O" lastIdx="3" clrIdx="3">
    <p:extLst>
      <p:ext uri="{19B8F6BF-5375-455C-9EA6-DF929625EA0E}">
        <p15:presenceInfo xmlns:p15="http://schemas.microsoft.com/office/powerpoint/2012/main" userId="Osama" providerId="None"/>
      </p:ext>
    </p:extLst>
  </p:cmAuthor>
  <p:cmAuthor id="5" name="Sira Camara" initials="SC" lastIdx="1" clrIdx="4">
    <p:extLst>
      <p:ext uri="{19B8F6BF-5375-455C-9EA6-DF929625EA0E}">
        <p15:presenceInfo xmlns:p15="http://schemas.microsoft.com/office/powerpoint/2012/main" userId="S::scamara@clintonhealthaccess.org::1fbe67e4-f6e6-4227-8203-d7044805c5d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1F497D"/>
    <a:srgbClr val="F79646"/>
    <a:srgbClr val="969696"/>
    <a:srgbClr val="FFC90D"/>
    <a:srgbClr val="FFE699"/>
    <a:srgbClr val="ED7D31"/>
    <a:srgbClr val="BF9000"/>
    <a:srgbClr val="FBE5D6"/>
    <a:srgbClr val="A5A5A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44" autoAdjust="0"/>
    <p:restoredTop sz="95256" autoAdjust="0"/>
  </p:normalViewPr>
  <p:slideViewPr>
    <p:cSldViewPr snapToGrid="0">
      <p:cViewPr varScale="1">
        <p:scale>
          <a:sx n="32" d="100"/>
          <a:sy n="32" d="100"/>
        </p:scale>
        <p:origin x="1228" y="3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tags" Target="tags/tag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1.xlsb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033747779751328E-2"/>
          <c:y val="3.4712950600801068E-2"/>
          <c:w val="0.82534043812907043"/>
          <c:h val="0.9305740987983978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FBE5D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0391-4022-8F38-EE6EAFC22771}"/>
              </c:ext>
            </c:extLst>
          </c:dPt>
          <c:dPt>
            <c:idx val="1"/>
            <c:bubble3D val="0"/>
            <c:spPr>
              <a:solidFill>
                <a:srgbClr val="FFE69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0391-4022-8F38-EE6EAFC22771}"/>
              </c:ext>
            </c:extLst>
          </c:dPt>
          <c:dPt>
            <c:idx val="2"/>
            <c:bubble3D val="0"/>
            <c:spPr>
              <a:solidFill>
                <a:srgbClr val="BF900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0391-4022-8F38-EE6EAFC22771}"/>
              </c:ext>
            </c:extLst>
          </c:dPt>
          <c:dLbls>
            <c:dLbl>
              <c:idx val="0"/>
              <c:layout>
                <c:manualLayout>
                  <c:x val="3.3155713439905268E-2"/>
                  <c:y val="-0.1648865153538050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391-4022-8F38-EE6EAFC22771}"/>
                </c:ext>
              </c:extLst>
            </c:dLbl>
            <c:dLbl>
              <c:idx val="1"/>
              <c:layout>
                <c:manualLayout>
                  <c:x val="9.1770278271166364E-2"/>
                  <c:y val="-9.6795727636849127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391-4022-8F38-EE6EAFC22771}"/>
                </c:ext>
              </c:extLst>
            </c:dLbl>
            <c:dLbl>
              <c:idx val="2"/>
              <c:layout>
                <c:manualLayout>
                  <c:x val="-7.2824156305506219E-2"/>
                  <c:y val="0.12082777036048065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391-4022-8F38-EE6EAFC2277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7.0058499724885763</c:v>
                </c:pt>
                <c:pt idx="1">
                  <c:v>11.988792860689626</c:v>
                </c:pt>
                <c:pt idx="2">
                  <c:v>81.0053571668217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391-4022-8F38-EE6EAFC227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425328554360812E-2"/>
          <c:y val="2.4152345564328843E-2"/>
          <c:w val="0.97514934289127841"/>
          <c:h val="0.9516953088713423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24137816174.00002</c:v>
                </c:pt>
                <c:pt idx="1">
                  <c:v>152507763433</c:v>
                </c:pt>
                <c:pt idx="2">
                  <c:v>143558383382</c:v>
                </c:pt>
                <c:pt idx="3">
                  <c:v>178028027933.99969</c:v>
                </c:pt>
                <c:pt idx="4">
                  <c:v>176367519697.000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15-444A-9324-206306285907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98084087089.58287</c:v>
                </c:pt>
                <c:pt idx="1">
                  <c:v>114133588636.98438</c:v>
                </c:pt>
                <c:pt idx="2">
                  <c:v>160691698671.10999</c:v>
                </c:pt>
                <c:pt idx="3">
                  <c:v>66998056524.342194</c:v>
                </c:pt>
                <c:pt idx="4">
                  <c:v>57458320420.6473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15-444A-9324-206306285907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10765240593.975342</c:v>
                </c:pt>
                <c:pt idx="1">
                  <c:v>22126789537.757446</c:v>
                </c:pt>
                <c:pt idx="2">
                  <c:v>18323962770.874695</c:v>
                </c:pt>
                <c:pt idx="3">
                  <c:v>17015108287.240784</c:v>
                </c:pt>
                <c:pt idx="4">
                  <c:v>16360681045.4238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715-444A-9324-206306285907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49288392395.423767</c:v>
                </c:pt>
                <c:pt idx="1">
                  <c:v>49173247977.95343</c:v>
                </c:pt>
                <c:pt idx="2">
                  <c:v>48127135510.160217</c:v>
                </c:pt>
                <c:pt idx="3">
                  <c:v>46202633372.343475</c:v>
                </c:pt>
                <c:pt idx="4">
                  <c:v>43502240248.3776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715-444A-9324-206306285907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10866293007.272095</c:v>
                </c:pt>
                <c:pt idx="1">
                  <c:v>11952922307.999329</c:v>
                </c:pt>
                <c:pt idx="2">
                  <c:v>13148214538.799194</c:v>
                </c:pt>
                <c:pt idx="3">
                  <c:v>14463035992.679138</c:v>
                </c:pt>
                <c:pt idx="4">
                  <c:v>15909339591.947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715-444A-9324-206306285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80243599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sysDot"/>
            </a:ln>
          </c:spPr>
          <c:marker>
            <c:symbol val="none"/>
          </c:marker>
          <c:dPt>
            <c:idx val="0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1715-444A-9324-206306285907}"/>
              </c:ext>
            </c:extLst>
          </c:dPt>
          <c:dPt>
            <c:idx val="1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1715-444A-9324-206306285907}"/>
              </c:ext>
            </c:extLst>
          </c:dPt>
          <c:dPt>
            <c:idx val="2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1715-444A-9324-206306285907}"/>
              </c:ext>
            </c:extLst>
          </c:dPt>
          <c:dPt>
            <c:idx val="3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1715-444A-9324-206306285907}"/>
              </c:ext>
            </c:extLst>
          </c:dPt>
          <c:dPt>
            <c:idx val="4"/>
            <c:marker>
              <c:symbol val="circle"/>
              <c:size val="8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1715-444A-9324-206306285907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301605841029</c:v>
                </c:pt>
                <c:pt idx="1">
                  <c:v>361332548733</c:v>
                </c:pt>
                <c:pt idx="2">
                  <c:v>361150017872</c:v>
                </c:pt>
                <c:pt idx="3">
                  <c:v>383687566827</c:v>
                </c:pt>
                <c:pt idx="4">
                  <c:v>3838417668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1715-444A-9324-206306285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0243599"/>
        <c:axId val="1"/>
      </c:lineChart>
      <c:catAx>
        <c:axId val="2802435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280243599"/>
        <c:crosses val="min"/>
        <c:crossBetween val="between"/>
        <c:majorUnit val="5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701873935264053E-2"/>
          <c:y val="2.2203245089666951E-2"/>
          <c:w val="0.95315161839863716"/>
          <c:h val="0.9555935098206660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1DD3-400B-8EF0-0F68921B38A1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DD3-400B-8EF0-0F68921B38A1}"/>
              </c:ext>
            </c:extLst>
          </c:dPt>
          <c:dPt>
            <c:idx val="2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1DD3-400B-8EF0-0F68921B38A1}"/>
              </c:ext>
            </c:extLst>
          </c:dPt>
          <c:dPt>
            <c:idx val="3"/>
            <c:bubble3D val="0"/>
            <c:spPr>
              <a:solidFill>
                <a:srgbClr val="FFC90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DD3-400B-8EF0-0F68921B38A1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1DD3-400B-8EF0-0F68921B38A1}"/>
              </c:ext>
            </c:extLst>
          </c:dPt>
          <c:dPt>
            <c:idx val="5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DD3-400B-8EF0-0F68921B38A1}"/>
              </c:ext>
            </c:extLst>
          </c:dPt>
          <c:dLbls>
            <c:dLbl>
              <c:idx val="0"/>
              <c:layout>
                <c:manualLayout>
                  <c:x val="0.17035775127768313"/>
                  <c:y val="-3.672075149444918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DD3-400B-8EF0-0F68921B38A1}"/>
                </c:ext>
              </c:extLst>
            </c:dLbl>
            <c:dLbl>
              <c:idx val="1"/>
              <c:layout>
                <c:manualLayout>
                  <c:x val="-7.7938671209540039E-2"/>
                  <c:y val="0.1631084543125533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DD3-400B-8EF0-0F68921B38A1}"/>
                </c:ext>
              </c:extLst>
            </c:dLbl>
            <c:dLbl>
              <c:idx val="2"/>
              <c:layout>
                <c:manualLayout>
                  <c:x val="-0.19037478705281091"/>
                  <c:y val="1.964133219470538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DD3-400B-8EF0-0F68921B38A1}"/>
                </c:ext>
              </c:extLst>
            </c:dLbl>
            <c:dLbl>
              <c:idx val="3"/>
              <c:layout>
                <c:manualLayout>
                  <c:x val="-0.15332197614991483"/>
                  <c:y val="-7.64304013663535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DD3-400B-8EF0-0F68921B38A1}"/>
                </c:ext>
              </c:extLst>
            </c:dLbl>
            <c:dLbl>
              <c:idx val="4"/>
              <c:layout>
                <c:manualLayout>
                  <c:x val="-0.10178875638841567"/>
                  <c:y val="-0.1554227156276686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b="1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DD3-400B-8EF0-0F68921B38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6</c:f>
              <c:numCache>
                <c:formatCode>General</c:formatCode>
                <c:ptCount val="6"/>
                <c:pt idx="0">
                  <c:v>43.23464160760485</c:v>
                </c:pt>
                <c:pt idx="1">
                  <c:v>27.760706936137204</c:v>
                </c:pt>
                <c:pt idx="2">
                  <c:v>4.7215307236163833</c:v>
                </c:pt>
                <c:pt idx="3">
                  <c:v>13.188842892880862</c:v>
                </c:pt>
                <c:pt idx="4">
                  <c:v>3.702787922192917</c:v>
                </c:pt>
                <c:pt idx="5">
                  <c:v>7.3914899175677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DD3-400B-8EF0-0F68921B38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4.2975206611570248E-2"/>
          <c:w val="0.96830234684547389"/>
          <c:h val="0.9140495867768595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41656501354</c:v>
                </c:pt>
                <c:pt idx="1">
                  <c:v>45470081150</c:v>
                </c:pt>
                <c:pt idx="2">
                  <c:v>48309717716</c:v>
                </c:pt>
                <c:pt idx="3">
                  <c:v>54289933047.999809</c:v>
                </c:pt>
                <c:pt idx="4">
                  <c:v>58509115882.000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711-457C-848C-B1790B9B6E54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10964422417.758301</c:v>
                </c:pt>
                <c:pt idx="1">
                  <c:v>9711022680.0820236</c:v>
                </c:pt>
                <c:pt idx="2">
                  <c:v>10411676855.614006</c:v>
                </c:pt>
                <c:pt idx="3">
                  <c:v>3340591389.0940018</c:v>
                </c:pt>
                <c:pt idx="4">
                  <c:v>1461881849.098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11-457C-848C-B1790B9B6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91015808"/>
        <c:axId val="1"/>
      </c:barChart>
      <c:lineChart>
        <c:grouping val="standard"/>
        <c:varyColors val="0"/>
        <c:ser>
          <c:idx val="2"/>
          <c:order val="2"/>
          <c:spPr>
            <a:ln w="38100" algn="ctr">
              <a:solidFill>
                <a:srgbClr val="C30C3E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5711-457C-848C-B1790B9B6E54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5711-457C-848C-B1790B9B6E54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5711-457C-848C-B1790B9B6E54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5711-457C-848C-B1790B9B6E54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5711-457C-848C-B1790B9B6E54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34900391100</c:v>
                </c:pt>
                <c:pt idx="1">
                  <c:v>41198041563</c:v>
                </c:pt>
                <c:pt idx="2">
                  <c:v>47494057625</c:v>
                </c:pt>
                <c:pt idx="3">
                  <c:v>54289086688</c:v>
                </c:pt>
                <c:pt idx="4">
                  <c:v>609031806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5711-457C-848C-B1790B9B6E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1015808"/>
        <c:axId val="1"/>
      </c:lineChart>
      <c:catAx>
        <c:axId val="29101580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291015808"/>
        <c:crosses val="min"/>
        <c:crossBetween val="between"/>
        <c:majorUnit val="2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4.6973803071364048E-2"/>
          <c:w val="0.96830234684547389"/>
          <c:h val="0.9060523938572718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60050713700</c:v>
                </c:pt>
                <c:pt idx="1">
                  <c:v>82238988123</c:v>
                </c:pt>
                <c:pt idx="2">
                  <c:v>68391216267</c:v>
                </c:pt>
                <c:pt idx="3">
                  <c:v>95916803457.000168</c:v>
                </c:pt>
                <c:pt idx="4">
                  <c:v>87822925471.000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95-4E73-9A58-476BA78FB23B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84608292658.596069</c:v>
                </c:pt>
                <c:pt idx="1">
                  <c:v>101629196645.06628</c:v>
                </c:pt>
                <c:pt idx="2">
                  <c:v>148274535837.72354</c:v>
                </c:pt>
                <c:pt idx="3">
                  <c:v>61796660259.475235</c:v>
                </c:pt>
                <c:pt idx="4">
                  <c:v>55615559085.548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95-4E73-9A58-476BA78FB23B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9487809998.4180298</c:v>
                </c:pt>
                <c:pt idx="1">
                  <c:v>20144455543.256897</c:v>
                </c:pt>
                <c:pt idx="2">
                  <c:v>16684103383.304474</c:v>
                </c:pt>
                <c:pt idx="3">
                  <c:v>15492381713.068451</c:v>
                </c:pt>
                <c:pt idx="4">
                  <c:v>14896520877.9504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95-4E73-9A58-476BA78FB23B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48997338774.059479</c:v>
                </c:pt>
                <c:pt idx="1">
                  <c:v>48873462747.948181</c:v>
                </c:pt>
                <c:pt idx="2">
                  <c:v>47818356723.254822</c:v>
                </c:pt>
                <c:pt idx="3">
                  <c:v>45884591221.830872</c:v>
                </c:pt>
                <c:pt idx="4">
                  <c:v>43174656833.3497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C95-4E73-9A58-476BA78FB23B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8993442143.1639099</c:v>
                </c:pt>
                <c:pt idx="1">
                  <c:v>9892786357.4802551</c:v>
                </c:pt>
                <c:pt idx="2">
                  <c:v>10882064993.228271</c:v>
                </c:pt>
                <c:pt idx="3">
                  <c:v>11970271492.551147</c:v>
                </c:pt>
                <c:pt idx="4">
                  <c:v>13167298641.8062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C95-4E73-9A58-476BA78FB2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8657167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C95-4E73-9A58-476BA78FB23B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C95-4E73-9A58-476BA78FB23B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C95-4E73-9A58-476BA78FB23B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7C95-4E73-9A58-476BA78FB23B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7C95-4E73-9A58-476BA78FB23B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223885508729</c:v>
                </c:pt>
                <c:pt idx="1">
                  <c:v>272258530842</c:v>
                </c:pt>
                <c:pt idx="2">
                  <c:v>263297391547</c:v>
                </c:pt>
                <c:pt idx="3">
                  <c:v>279305008857</c:v>
                </c:pt>
                <c:pt idx="4">
                  <c:v>271313756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7C95-4E73-9A58-476BA78FB2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58657167"/>
        <c:axId val="1"/>
      </c:lineChart>
      <c:catAx>
        <c:axId val="45865716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458657167"/>
        <c:crosses val="min"/>
        <c:crossBetween val="between"/>
        <c:majorUnit val="5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848826577263029E-2"/>
          <c:y val="4.7402005469462168E-2"/>
          <c:w val="0.96830234684547389"/>
          <c:h val="0.905195989061075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22430601120</c:v>
                </c:pt>
                <c:pt idx="1">
                  <c:v>24798694160</c:v>
                </c:pt>
                <c:pt idx="2">
                  <c:v>26857449399</c:v>
                </c:pt>
                <c:pt idx="3">
                  <c:v>27821291429.000172</c:v>
                </c:pt>
                <c:pt idx="4">
                  <c:v>30035478344.0001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A6-4EB0-8A84-FE05C5FBD5F6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2511372013.2287216</c:v>
                </c:pt>
                <c:pt idx="1">
                  <c:v>2793369311.8360786</c:v>
                </c:pt>
                <c:pt idx="2">
                  <c:v>2005485977.7729988</c:v>
                </c:pt>
                <c:pt idx="3">
                  <c:v>1860804875.7729988</c:v>
                </c:pt>
                <c:pt idx="4">
                  <c:v>380879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A6-4EB0-8A84-FE05C5FBD5F6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1277430595.5573006</c:v>
                </c:pt>
                <c:pt idx="1">
                  <c:v>1982333994.5005379</c:v>
                </c:pt>
                <c:pt idx="2">
                  <c:v>1639859387.5702095</c:v>
                </c:pt>
                <c:pt idx="3">
                  <c:v>1522726574.1723404</c:v>
                </c:pt>
                <c:pt idx="4">
                  <c:v>1464160167.4734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A6-4EB0-8A84-FE05C5FBD5F6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291053621.36431503</c:v>
                </c:pt>
                <c:pt idx="1">
                  <c:v>299785230.00524521</c:v>
                </c:pt>
                <c:pt idx="2">
                  <c:v>308778786.90540314</c:v>
                </c:pt>
                <c:pt idx="3">
                  <c:v>318042150.51256561</c:v>
                </c:pt>
                <c:pt idx="4">
                  <c:v>327583415.027942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A6-4EB0-8A84-FE05C5FBD5F6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1872850864.1082077</c:v>
                </c:pt>
                <c:pt idx="1">
                  <c:v>2060135950.5190277</c:v>
                </c:pt>
                <c:pt idx="2">
                  <c:v>2266149545.5709305</c:v>
                </c:pt>
                <c:pt idx="3">
                  <c:v>2492764500.1280251</c:v>
                </c:pt>
                <c:pt idx="4">
                  <c:v>2742040950.1408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A6-4EB0-8A84-FE05C5FBD5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80251087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lgDash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A2A6-4EB0-8A84-FE05C5FBD5F6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A2A6-4EB0-8A84-FE05C5FBD5F6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A2A6-4EB0-8A84-FE05C5FBD5F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A2A6-4EB0-8A84-FE05C5FBD5F6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A2A6-4EB0-8A84-FE05C5FBD5F6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42819941200</c:v>
                </c:pt>
                <c:pt idx="1">
                  <c:v>47875976328</c:v>
                </c:pt>
                <c:pt idx="2">
                  <c:v>50358568700</c:v>
                </c:pt>
                <c:pt idx="3">
                  <c:v>50093471282</c:v>
                </c:pt>
                <c:pt idx="4">
                  <c:v>516248298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A2A6-4EB0-8A84-FE05C5FBD5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80251087"/>
        <c:axId val="1"/>
      </c:lineChart>
      <c:catAx>
        <c:axId val="28025108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280251087"/>
        <c:crosses val="min"/>
        <c:crossBetween val="between"/>
        <c:majorUnit val="1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96821008984105E-2"/>
          <c:y val="4.3807919123841618E-2"/>
          <c:w val="0.96406357982031787"/>
          <c:h val="0.9123841617523167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41E-41E4-8724-0130EB3E054C}"/>
                </c:ext>
              </c:extLst>
            </c:dLbl>
            <c:dLbl>
              <c:idx val="1"/>
              <c:layout>
                <c:manualLayout>
                  <c:x val="-3.45542501727712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41E-41E4-8724-0130EB3E05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2.046928218597571</c:v>
                </c:pt>
                <c:pt idx="1">
                  <c:v>7.215936178709806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41E-41E4-8724-0130EB3E054C}"/>
            </c:ext>
          </c:extLst>
        </c:ser>
        <c:ser>
          <c:idx val="1"/>
          <c:order val="1"/>
          <c:spPr>
            <a:solidFill>
              <a:srgbClr val="4C6C9C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41E-41E4-8724-0130EB3E054C}"/>
                </c:ext>
              </c:extLst>
            </c:dLbl>
            <c:dLbl>
              <c:idx val="1"/>
              <c:layout>
                <c:manualLayout>
                  <c:x val="-3.45542501727712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41E-41E4-8724-0130EB3E054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41E-41E4-8724-0130EB3E054C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41E-41E4-8724-0130EB3E054C}"/>
                </c:ext>
              </c:extLst>
            </c:dLbl>
            <c:dLbl>
              <c:idx val="4"/>
              <c:layout>
                <c:manualLayout>
                  <c:x val="-3.45542501727712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41E-41E4-8724-0130EB3E05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50.919299794328587</c:v>
                </c:pt>
                <c:pt idx="1">
                  <c:v>90.863563336722251</c:v>
                </c:pt>
                <c:pt idx="2">
                  <c:v>90.676977702941286</c:v>
                </c:pt>
                <c:pt idx="3">
                  <c:v>99.346049626362216</c:v>
                </c:pt>
                <c:pt idx="4">
                  <c:v>82.764583442993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41E-41E4-8724-0130EB3E054C}"/>
            </c:ext>
          </c:extLst>
        </c:ser>
        <c:ser>
          <c:idx val="2"/>
          <c:order val="2"/>
          <c:spPr>
            <a:solidFill>
              <a:srgbClr val="C3CFE1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41E-41E4-8724-0130EB3E054C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41E-41E4-8724-0130EB3E054C}"/>
                </c:ext>
              </c:extLst>
            </c:dLbl>
            <c:dLbl>
              <c:idx val="4"/>
              <c:layout>
                <c:manualLayout>
                  <c:x val="-3.45542501727712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41E-41E4-8724-0130EB3E054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17.033771987073841</c:v>
                </c:pt>
                <c:pt idx="1">
                  <c:v>1.9205004845679219</c:v>
                </c:pt>
                <c:pt idx="2">
                  <c:v>9.3230222970587135</c:v>
                </c:pt>
                <c:pt idx="3">
                  <c:v>0.65395037363780162</c:v>
                </c:pt>
                <c:pt idx="4">
                  <c:v>17.2354165570064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41E-41E4-8724-0130EB3E05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978247135"/>
        <c:axId val="1"/>
      </c:barChart>
      <c:catAx>
        <c:axId val="1978247135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97824713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82122905027941E-3"/>
          <c:y val="1.5695744038635679E-2"/>
          <c:w val="0.98184357541899436"/>
          <c:h val="0.9686085119227286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L$1</c:f>
              <c:numCache>
                <c:formatCode>General</c:formatCode>
                <c:ptCount val="12"/>
                <c:pt idx="0">
                  <c:v>389904811733.24536</c:v>
                </c:pt>
                <c:pt idx="1">
                  <c:v>88372267648.10376</c:v>
                </c:pt>
                <c:pt idx="2">
                  <c:v>73989708853.326218</c:v>
                </c:pt>
                <c:pt idx="3">
                  <c:v>130119755808.57458</c:v>
                </c:pt>
                <c:pt idx="4">
                  <c:v>7345025468.7859545</c:v>
                </c:pt>
                <c:pt idx="5">
                  <c:v>39461662765.563896</c:v>
                </c:pt>
                <c:pt idx="6">
                  <c:v>853519111.11361754</c:v>
                </c:pt>
                <c:pt idx="7">
                  <c:v>22449830680.346893</c:v>
                </c:pt>
                <c:pt idx="8">
                  <c:v>9452295426.1275101</c:v>
                </c:pt>
                <c:pt idx="9">
                  <c:v>9836399973.072052</c:v>
                </c:pt>
                <c:pt idx="10">
                  <c:v>14950000</c:v>
                </c:pt>
                <c:pt idx="11">
                  <c:v>2799283151.74088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B-4714-9991-2E9617049443}"/>
            </c:ext>
          </c:extLst>
        </c:ser>
        <c:ser>
          <c:idx val="1"/>
          <c:order val="1"/>
          <c:spPr>
            <a:solidFill>
              <a:schemeClr val="accent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L$2</c:f>
              <c:numCache>
                <c:formatCode>General</c:formatCode>
                <c:ptCount val="12"/>
                <c:pt idx="0">
                  <c:v>95646631966.883057</c:v>
                </c:pt>
                <c:pt idx="1">
                  <c:v>0</c:v>
                </c:pt>
                <c:pt idx="2">
                  <c:v>6946020699.8320618</c:v>
                </c:pt>
                <c:pt idx="3">
                  <c:v>8507765532.9820862</c:v>
                </c:pt>
                <c:pt idx="4">
                  <c:v>144487096618.48242</c:v>
                </c:pt>
                <c:pt idx="5">
                  <c:v>72461808131.437744</c:v>
                </c:pt>
                <c:pt idx="6">
                  <c:v>76604920522.818405</c:v>
                </c:pt>
                <c:pt idx="7">
                  <c:v>41750048212.409599</c:v>
                </c:pt>
                <c:pt idx="8">
                  <c:v>3026273427.2928257</c:v>
                </c:pt>
                <c:pt idx="9">
                  <c:v>25230404146.122314</c:v>
                </c:pt>
                <c:pt idx="10">
                  <c:v>13147466678.365372</c:v>
                </c:pt>
                <c:pt idx="11">
                  <c:v>9107178177.03998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CB-4714-9991-2E9617049443}"/>
            </c:ext>
          </c:extLst>
        </c:ser>
        <c:ser>
          <c:idx val="2"/>
          <c:order val="2"/>
          <c:spPr>
            <a:solidFill>
              <a:srgbClr val="96969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L$3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58544131672.682175</c:v>
                </c:pt>
                <c:pt idx="3">
                  <c:v>7886510719.2737732</c:v>
                </c:pt>
                <c:pt idx="4">
                  <c:v>0</c:v>
                </c:pt>
                <c:pt idx="5">
                  <c:v>18161139843.31601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CB-4714-9991-2E9617049443}"/>
            </c:ext>
          </c:extLst>
        </c:ser>
        <c:ser>
          <c:idx val="3"/>
          <c:order val="3"/>
          <c:spPr>
            <a:solidFill>
              <a:srgbClr val="FFC90D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L$4</c:f>
              <c:numCache>
                <c:formatCode>General</c:formatCode>
                <c:ptCount val="12"/>
                <c:pt idx="0">
                  <c:v>0</c:v>
                </c:pt>
                <c:pt idx="1">
                  <c:v>148131051807.70767</c:v>
                </c:pt>
                <c:pt idx="2">
                  <c:v>86409780221.162842</c:v>
                </c:pt>
                <c:pt idx="3">
                  <c:v>1545243203.8154602</c:v>
                </c:pt>
                <c:pt idx="4">
                  <c:v>207574271.57232666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CB-4714-9991-2E9617049443}"/>
            </c:ext>
          </c:extLst>
        </c:ser>
        <c:ser>
          <c:idx val="4"/>
          <c:order val="4"/>
          <c:spPr>
            <a:solidFill>
              <a:schemeClr val="tx2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L$5</c:f>
              <c:numCache>
                <c:formatCode>General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11433941810.46701</c:v>
                </c:pt>
                <c:pt idx="4">
                  <c:v>3565063468.4273071</c:v>
                </c:pt>
                <c:pt idx="5">
                  <c:v>4822162963.8483582</c:v>
                </c:pt>
                <c:pt idx="6">
                  <c:v>3059242276.4465942</c:v>
                </c:pt>
                <c:pt idx="7">
                  <c:v>0</c:v>
                </c:pt>
                <c:pt idx="8">
                  <c:v>29388451274.66642</c:v>
                </c:pt>
                <c:pt idx="9">
                  <c:v>3059242276.4465866</c:v>
                </c:pt>
                <c:pt idx="10">
                  <c:v>1833974539.0547981</c:v>
                </c:pt>
                <c:pt idx="11">
                  <c:v>3059242276.4465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CB-4714-9991-2E96170494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22178303"/>
        <c:axId val="1"/>
      </c:barChart>
      <c:catAx>
        <c:axId val="12217830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85551443700.1284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221783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240252067743205E-2"/>
          <c:y val="1.7032427120864724E-2"/>
          <c:w val="0.97951949586451359"/>
          <c:h val="0.9659351457582705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E75-4407-B163-B76821F9DD52}"/>
              </c:ext>
            </c:extLst>
          </c:dPt>
          <c:val>
            <c:numRef>
              <c:f>Sheet1!$A$1:$M$1</c:f>
              <c:numCache>
                <c:formatCode>General</c:formatCode>
                <c:ptCount val="13"/>
                <c:pt idx="0">
                  <c:v>287358143291.87378</c:v>
                </c:pt>
                <c:pt idx="1">
                  <c:v>49080754282.043503</c:v>
                </c:pt>
                <c:pt idx="2">
                  <c:v>124840815098.65442</c:v>
                </c:pt>
                <c:pt idx="3">
                  <c:v>103962169144.2804</c:v>
                </c:pt>
                <c:pt idx="4">
                  <c:v>59523677573.422707</c:v>
                </c:pt>
                <c:pt idx="5">
                  <c:v>52230226967.401985</c:v>
                </c:pt>
                <c:pt idx="6">
                  <c:v>35001866454.417694</c:v>
                </c:pt>
                <c:pt idx="7">
                  <c:v>30503096305.737671</c:v>
                </c:pt>
                <c:pt idx="8">
                  <c:v>12590634182.846497</c:v>
                </c:pt>
                <c:pt idx="9">
                  <c:v>0</c:v>
                </c:pt>
                <c:pt idx="10">
                  <c:v>17849860878.436272</c:v>
                </c:pt>
                <c:pt idx="11">
                  <c:v>1658266440.8857832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E75-4407-B163-B76821F9DD52}"/>
            </c:ext>
          </c:extLst>
        </c:ser>
        <c:ser>
          <c:idx val="1"/>
          <c:order val="1"/>
          <c:spPr>
            <a:solidFill>
              <a:schemeClr val="accent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3E75-4407-B163-B76821F9DD52}"/>
              </c:ext>
            </c:extLst>
          </c:dPt>
          <c:val>
            <c:numRef>
              <c:f>Sheet1!$A$2:$M$2</c:f>
              <c:numCache>
                <c:formatCode>General</c:formatCode>
                <c:ptCount val="13"/>
                <c:pt idx="0">
                  <c:v>35994676324.774231</c:v>
                </c:pt>
                <c:pt idx="1">
                  <c:v>83860706838.755325</c:v>
                </c:pt>
                <c:pt idx="2">
                  <c:v>93606099555.491516</c:v>
                </c:pt>
                <c:pt idx="3">
                  <c:v>53608803308.726166</c:v>
                </c:pt>
                <c:pt idx="4">
                  <c:v>82828749598.102966</c:v>
                </c:pt>
                <c:pt idx="5">
                  <c:v>27098274660.59684</c:v>
                </c:pt>
                <c:pt idx="6">
                  <c:v>16899998146.238503</c:v>
                </c:pt>
                <c:pt idx="7">
                  <c:v>27545012800.286026</c:v>
                </c:pt>
                <c:pt idx="8">
                  <c:v>21403190328.45892</c:v>
                </c:pt>
                <c:pt idx="9">
                  <c:v>27520461458.084312</c:v>
                </c:pt>
                <c:pt idx="10">
                  <c:v>531639016.2259407</c:v>
                </c:pt>
                <c:pt idx="11">
                  <c:v>13920536465.079105</c:v>
                </c:pt>
                <c:pt idx="12">
                  <c:v>12547602841.8468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E75-4407-B163-B76821F9DD52}"/>
            </c:ext>
          </c:extLst>
        </c:ser>
        <c:ser>
          <c:idx val="2"/>
          <c:order val="2"/>
          <c:spPr>
            <a:solidFill>
              <a:srgbClr val="96969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dPt>
            <c:idx val="12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3E75-4407-B163-B76821F9DD52}"/>
              </c:ext>
            </c:extLst>
          </c:dPt>
          <c:val>
            <c:numRef>
              <c:f>Sheet1!$A$3:$M$3</c:f>
              <c:numCache>
                <c:formatCode>General</c:formatCode>
                <c:ptCount val="13"/>
                <c:pt idx="0">
                  <c:v>20134157142.105896</c:v>
                </c:pt>
                <c:pt idx="1">
                  <c:v>33478474603.634216</c:v>
                </c:pt>
                <c:pt idx="2">
                  <c:v>462521573.45169067</c:v>
                </c:pt>
                <c:pt idx="3">
                  <c:v>3301852694.6370239</c:v>
                </c:pt>
                <c:pt idx="4">
                  <c:v>0</c:v>
                </c:pt>
                <c:pt idx="5">
                  <c:v>17093255988.526413</c:v>
                </c:pt>
                <c:pt idx="6">
                  <c:v>188313451.49369812</c:v>
                </c:pt>
                <c:pt idx="7">
                  <c:v>9353791030.1797256</c:v>
                </c:pt>
                <c:pt idx="8">
                  <c:v>229761861.89056015</c:v>
                </c:pt>
                <c:pt idx="9">
                  <c:v>9846029.8375053406</c:v>
                </c:pt>
                <c:pt idx="10">
                  <c:v>339807859.51541138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E75-4407-B163-B76821F9DD52}"/>
            </c:ext>
          </c:extLst>
        </c:ser>
        <c:ser>
          <c:idx val="3"/>
          <c:order val="3"/>
          <c:spPr>
            <a:solidFill>
              <a:srgbClr val="FFC90D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tx2"/>
              </a:solidFill>
              <a:ln w="1905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3E75-4407-B163-B76821F9DD52}"/>
              </c:ext>
            </c:extLst>
          </c:dPt>
          <c:dPt>
            <c:idx val="12"/>
            <c:invertIfNegative val="0"/>
            <c:bubble3D val="0"/>
            <c:spPr>
              <a:solidFill>
                <a:srgbClr val="FFC90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E75-4407-B163-B76821F9DD52}"/>
              </c:ext>
            </c:extLst>
          </c:dPt>
          <c:val>
            <c:numRef>
              <c:f>Sheet1!$A$4:$M$4</c:f>
              <c:numCache>
                <c:formatCode>General</c:formatCode>
                <c:ptCount val="13"/>
                <c:pt idx="0">
                  <c:v>57913945555.424683</c:v>
                </c:pt>
                <c:pt idx="1">
                  <c:v>157222615566.39575</c:v>
                </c:pt>
                <c:pt idx="2">
                  <c:v>0</c:v>
                </c:pt>
                <c:pt idx="3">
                  <c:v>5978866988.1827087</c:v>
                </c:pt>
                <c:pt idx="4">
                  <c:v>56487000</c:v>
                </c:pt>
                <c:pt idx="5">
                  <c:v>0</c:v>
                </c:pt>
                <c:pt idx="6">
                  <c:v>15090004394.255318</c:v>
                </c:pt>
                <c:pt idx="7">
                  <c:v>0</c:v>
                </c:pt>
                <c:pt idx="8">
                  <c:v>3173000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E75-4407-B163-B76821F9DD52}"/>
            </c:ext>
          </c:extLst>
        </c:ser>
        <c:ser>
          <c:idx val="4"/>
          <c:order val="4"/>
          <c:spPr>
            <a:solidFill>
              <a:schemeClr val="tx2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dPt>
            <c:idx val="1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3E75-4407-B163-B76821F9DD52}"/>
              </c:ext>
            </c:extLst>
          </c:dPt>
          <c:val>
            <c:numRef>
              <c:f>Sheet1!$A$5:$M$5</c:f>
              <c:numCache>
                <c:formatCode>General</c:formatCode>
                <c:ptCount val="13"/>
                <c:pt idx="0">
                  <c:v>0</c:v>
                </c:pt>
                <c:pt idx="1">
                  <c:v>23462532051.410706</c:v>
                </c:pt>
                <c:pt idx="3">
                  <c:v>40011613281.92511</c:v>
                </c:pt>
                <c:pt idx="4">
                  <c:v>0</c:v>
                </c:pt>
                <c:pt idx="5">
                  <c:v>0</c:v>
                </c:pt>
                <c:pt idx="6">
                  <c:v>2865660105.3609467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E75-4407-B163-B76821F9DD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098390992"/>
        <c:axId val="1"/>
      </c:barChart>
      <c:catAx>
        <c:axId val="10983909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1400922314.1785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0983909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311979500320305E-2"/>
          <c:y val="2.24622030237581E-2"/>
          <c:w val="0.93337604099935934"/>
          <c:h val="0.955075593952483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M$1</c:f>
              <c:numCache>
                <c:formatCode>General</c:formatCode>
                <c:ptCount val="13"/>
                <c:pt idx="0">
                  <c:v>93606099555.491516</c:v>
                </c:pt>
                <c:pt idx="1">
                  <c:v>83860706838.755249</c:v>
                </c:pt>
                <c:pt idx="2">
                  <c:v>82828749598.102768</c:v>
                </c:pt>
                <c:pt idx="3">
                  <c:v>53608803308.726173</c:v>
                </c:pt>
                <c:pt idx="4">
                  <c:v>35994676324.774368</c:v>
                </c:pt>
                <c:pt idx="5">
                  <c:v>27545012800.28603</c:v>
                </c:pt>
                <c:pt idx="6">
                  <c:v>27520461458.084347</c:v>
                </c:pt>
                <c:pt idx="7">
                  <c:v>27098274660.596836</c:v>
                </c:pt>
                <c:pt idx="8">
                  <c:v>21403190328.458939</c:v>
                </c:pt>
                <c:pt idx="9">
                  <c:v>16899998146.238503</c:v>
                </c:pt>
                <c:pt idx="10">
                  <c:v>13920536465.079107</c:v>
                </c:pt>
                <c:pt idx="11">
                  <c:v>12547602841.846861</c:v>
                </c:pt>
                <c:pt idx="12">
                  <c:v>531639016.225940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11-4C1B-85FB-0245DBC8CC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0044608"/>
        <c:axId val="1"/>
      </c:barChart>
      <c:catAx>
        <c:axId val="11004460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3606099555.49151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004460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998961578400829E-2"/>
          <c:y val="2.24622030237581E-2"/>
          <c:w val="0.94600207684319837"/>
          <c:h val="0.9550755939524837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K$1</c:f>
              <c:numCache>
                <c:formatCode>General</c:formatCode>
                <c:ptCount val="11"/>
                <c:pt idx="0">
                  <c:v>287358143291.87427</c:v>
                </c:pt>
                <c:pt idx="1">
                  <c:v>124840815098.65456</c:v>
                </c:pt>
                <c:pt idx="2">
                  <c:v>103962169144.28049</c:v>
                </c:pt>
                <c:pt idx="3">
                  <c:v>59523677573.422737</c:v>
                </c:pt>
                <c:pt idx="4">
                  <c:v>52230226967.401993</c:v>
                </c:pt>
                <c:pt idx="5">
                  <c:v>49080754282.043503</c:v>
                </c:pt>
                <c:pt idx="6">
                  <c:v>35001866454.417778</c:v>
                </c:pt>
                <c:pt idx="7">
                  <c:v>30503096305.737663</c:v>
                </c:pt>
                <c:pt idx="8">
                  <c:v>17849860878.436325</c:v>
                </c:pt>
                <c:pt idx="9">
                  <c:v>12590634182.846514</c:v>
                </c:pt>
                <c:pt idx="10">
                  <c:v>1658266440.88578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7E-40BB-8298-965A1BCC2B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622959456"/>
        <c:axId val="1"/>
      </c:barChart>
      <c:catAx>
        <c:axId val="62295945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87358143291.87427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2295945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531717747683536E-2"/>
          <c:y val="1.8558172733761598E-2"/>
          <c:w val="0.96151104775481111"/>
          <c:h val="0.96288365453247682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F8F-488D-B1D8-5A55717E00F6}"/>
              </c:ext>
            </c:extLst>
          </c:dPt>
          <c:dPt>
            <c:idx val="1"/>
            <c:bubble3D val="0"/>
            <c:spPr>
              <a:solidFill>
                <a:schemeClr val="accent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F8F-488D-B1D8-5A55717E00F6}"/>
              </c:ext>
            </c:extLst>
          </c:dPt>
          <c:dPt>
            <c:idx val="2"/>
            <c:bubble3D val="0"/>
            <c:spPr>
              <a:solidFill>
                <a:srgbClr val="96969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F8F-488D-B1D8-5A55717E00F6}"/>
              </c:ext>
            </c:extLst>
          </c:dPt>
          <c:dPt>
            <c:idx val="3"/>
            <c:bubble3D val="0"/>
            <c:spPr>
              <a:solidFill>
                <a:srgbClr val="FFC90D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F8F-488D-B1D8-5A55717E00F6}"/>
              </c:ext>
            </c:extLst>
          </c:dPt>
          <c:dPt>
            <c:idx val="4"/>
            <c:bubble3D val="0"/>
            <c:spPr>
              <a:solidFill>
                <a:schemeClr val="tx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7F8F-488D-B1D8-5A55717E00F6}"/>
              </c:ext>
            </c:extLst>
          </c:dPt>
          <c:dLbls>
            <c:dLbl>
              <c:idx val="0"/>
              <c:layout>
                <c:manualLayout>
                  <c:x val="-2.0340215847929808E-2"/>
                  <c:y val="9.5302005878814943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F8F-488D-B1D8-5A55717E00F6}"/>
                </c:ext>
              </c:extLst>
            </c:dLbl>
            <c:dLbl>
              <c:idx val="1"/>
              <c:layout>
                <c:manualLayout>
                  <c:x val="-0.12829650748396293"/>
                  <c:y val="0.1427551748750892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F8F-488D-B1D8-5A55717E00F6}"/>
                </c:ext>
              </c:extLst>
            </c:dLbl>
            <c:dLbl>
              <c:idx val="2"/>
              <c:layout>
                <c:manualLayout>
                  <c:x val="3.1361368496079831E-2"/>
                  <c:y val="2.141327623126338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F8F-488D-B1D8-5A55717E00F6}"/>
                </c:ext>
              </c:extLst>
            </c:dLbl>
            <c:dLbl>
              <c:idx val="3"/>
              <c:layout>
                <c:manualLayout>
                  <c:x val="-0.12366357804704205"/>
                  <c:y val="-0.1473947180585296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F8F-488D-B1D8-5A55717E00F6}"/>
                </c:ext>
              </c:extLst>
            </c:dLbl>
            <c:dLbl>
              <c:idx val="4"/>
              <c:layout>
                <c:manualLayout>
                  <c:x val="-2.601568068424804E-2"/>
                  <c:y val="-0.2069950035688793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F8F-488D-B1D8-5A55717E00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6.685387303090245</c:v>
                </c:pt>
                <c:pt idx="1">
                  <c:v>29.976410279602799</c:v>
                </c:pt>
                <c:pt idx="2">
                  <c:v>5.0983767252206933</c:v>
                </c:pt>
                <c:pt idx="3">
                  <c:v>14.24150208349241</c:v>
                </c:pt>
                <c:pt idx="4">
                  <c:v>3.99832360859386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F8F-488D-B1D8-5A55717E00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657952069716776E-2"/>
          <c:y val="2.2657952069716776E-2"/>
          <c:w val="0.95468409586056646"/>
          <c:h val="0.95468409586056646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B5FB-4D90-B659-69C1AA33623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5FB-4D90-B659-69C1AA336232}"/>
              </c:ext>
            </c:extLst>
          </c:dPt>
          <c:dLbls>
            <c:dLbl>
              <c:idx val="0"/>
              <c:layout>
                <c:manualLayout>
                  <c:x val="6.1437908496732023E-2"/>
                  <c:y val="-1.17647058823529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5FB-4D90-B659-69C1AA336232}"/>
                </c:ext>
              </c:extLst>
            </c:dLbl>
            <c:dLbl>
              <c:idx val="1"/>
              <c:layout>
                <c:manualLayout>
                  <c:x val="-6.1437908496732023E-2"/>
                  <c:y val="1.176470588235294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5FB-4D90-B659-69C1AA33623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43.994460878975801</c:v>
                </c:pt>
                <c:pt idx="1">
                  <c:v>56.005539121024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FB-4D90-B659-69C1AA3362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057736720554272E-3"/>
          <c:y val="0.10324825986078887"/>
          <c:w val="0.91887990762124716"/>
          <c:h val="0.865429234338747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N$1</c:f>
              <c:numCache>
                <c:formatCode>General</c:formatCode>
                <c:ptCount val="14"/>
                <c:pt idx="0">
                  <c:v>4030776217.4845357</c:v>
                </c:pt>
                <c:pt idx="1">
                  <c:v>5116733626.5057487</c:v>
                </c:pt>
                <c:pt idx="2">
                  <c:v>7531816162.1575022</c:v>
                </c:pt>
                <c:pt idx="3">
                  <c:v>10645172384.980831</c:v>
                </c:pt>
                <c:pt idx="4">
                  <c:v>127279722404.15154</c:v>
                </c:pt>
                <c:pt idx="5">
                  <c:v>11131153476.901783</c:v>
                </c:pt>
                <c:pt idx="6">
                  <c:v>6760083635.8464632</c:v>
                </c:pt>
                <c:pt idx="7">
                  <c:v>12800619088.382685</c:v>
                </c:pt>
                <c:pt idx="8">
                  <c:v>10364138544.344608</c:v>
                </c:pt>
                <c:pt idx="9">
                  <c:v>16339290899.82461</c:v>
                </c:pt>
                <c:pt idx="10">
                  <c:v>10287370643.542278</c:v>
                </c:pt>
                <c:pt idx="11">
                  <c:v>11743492628.031639</c:v>
                </c:pt>
                <c:pt idx="12">
                  <c:v>27068910096.615974</c:v>
                </c:pt>
                <c:pt idx="13">
                  <c:v>19635890847.7344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ED-4267-A06D-5D4D5D628FF7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N$2</c:f>
              <c:numCache>
                <c:formatCode>General</c:formatCode>
                <c:ptCount val="14"/>
                <c:pt idx="0">
                  <c:v>24223813097.037899</c:v>
                </c:pt>
                <c:pt idx="1">
                  <c:v>25079348471.555134</c:v>
                </c:pt>
                <c:pt idx="2">
                  <c:v>34579472757.532967</c:v>
                </c:pt>
                <c:pt idx="3">
                  <c:v>27249090743.363087</c:v>
                </c:pt>
                <c:pt idx="4">
                  <c:v>13579967255.15419</c:v>
                </c:pt>
                <c:pt idx="5">
                  <c:v>16968300035.719566</c:v>
                </c:pt>
                <c:pt idx="6">
                  <c:v>18789287710.959358</c:v>
                </c:pt>
                <c:pt idx="7">
                  <c:v>15468392229.580664</c:v>
                </c:pt>
                <c:pt idx="8">
                  <c:v>7616164585.3104897</c:v>
                </c:pt>
                <c:pt idx="9">
                  <c:v>9400430245.9170132</c:v>
                </c:pt>
                <c:pt idx="10">
                  <c:v>7051826746.2223358</c:v>
                </c:pt>
                <c:pt idx="11">
                  <c:v>6766961349.9116898</c:v>
                </c:pt>
                <c:pt idx="12">
                  <c:v>7071001580.1995468</c:v>
                </c:pt>
                <c:pt idx="13">
                  <c:v>12147738263.4210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ED-4267-A06D-5D4D5D628FF7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N$3</c:f>
              <c:numCache>
                <c:formatCode>General</c:formatCode>
                <c:ptCount val="14"/>
                <c:pt idx="0">
                  <c:v>2645522238.5815544</c:v>
                </c:pt>
                <c:pt idx="1">
                  <c:v>1503711020.795517</c:v>
                </c:pt>
                <c:pt idx="2">
                  <c:v>3004294204.8681564</c:v>
                </c:pt>
                <c:pt idx="3">
                  <c:v>2999687308.8606491</c:v>
                </c:pt>
                <c:pt idx="4">
                  <c:v>33686745232.355682</c:v>
                </c:pt>
                <c:pt idx="5">
                  <c:v>2129427397.6411591</c:v>
                </c:pt>
                <c:pt idx="6">
                  <c:v>3016070913.195446</c:v>
                </c:pt>
                <c:pt idx="7">
                  <c:v>3436503491.4631882</c:v>
                </c:pt>
                <c:pt idx="8">
                  <c:v>2787451742.0162354</c:v>
                </c:pt>
                <c:pt idx="9">
                  <c:v>4499460340.8504028</c:v>
                </c:pt>
                <c:pt idx="10">
                  <c:v>4657371698.0577278</c:v>
                </c:pt>
                <c:pt idx="11">
                  <c:v>5366261481.4179611</c:v>
                </c:pt>
                <c:pt idx="12">
                  <c:v>8855032050.6570511</c:v>
                </c:pt>
                <c:pt idx="13">
                  <c:v>6004243114.51133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D-4267-A06D-5D4D5D628FF7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N$4</c:f>
              <c:numCache>
                <c:formatCode>General</c:formatCode>
                <c:ptCount val="14"/>
                <c:pt idx="0">
                  <c:v>2599230144.5468407</c:v>
                </c:pt>
                <c:pt idx="1">
                  <c:v>8033984083.1447906</c:v>
                </c:pt>
                <c:pt idx="2">
                  <c:v>11578388825.708664</c:v>
                </c:pt>
                <c:pt idx="3">
                  <c:v>12287269774.221428</c:v>
                </c:pt>
                <c:pt idx="4">
                  <c:v>54583833035.483734</c:v>
                </c:pt>
                <c:pt idx="5">
                  <c:v>9924333279.1788521</c:v>
                </c:pt>
                <c:pt idx="6">
                  <c:v>10160626928.683113</c:v>
                </c:pt>
                <c:pt idx="7">
                  <c:v>15122793568.272545</c:v>
                </c:pt>
                <c:pt idx="8">
                  <c:v>10160626928.683113</c:v>
                </c:pt>
                <c:pt idx="9">
                  <c:v>15595380867.281052</c:v>
                </c:pt>
                <c:pt idx="10">
                  <c:v>12523563423.7257</c:v>
                </c:pt>
                <c:pt idx="11">
                  <c:v>16776849114.802338</c:v>
                </c:pt>
                <c:pt idx="12">
                  <c:v>30718174435.553581</c:v>
                </c:pt>
                <c:pt idx="13">
                  <c:v>26228595094.9726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ED-4267-A06D-5D4D5D628FF7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N$5</c:f>
              <c:numCache>
                <c:formatCode>General</c:formatCode>
                <c:ptCount val="14"/>
                <c:pt idx="0">
                  <c:v>729737859.82566452</c:v>
                </c:pt>
                <c:pt idx="1">
                  <c:v>2255553384.9156952</c:v>
                </c:pt>
                <c:pt idx="2">
                  <c:v>3250650466.4961472</c:v>
                </c:pt>
                <c:pt idx="3">
                  <c:v>3449669882.8122406</c:v>
                </c:pt>
                <c:pt idx="4">
                  <c:v>15324495056.338989</c:v>
                </c:pt>
                <c:pt idx="5">
                  <c:v>2786271828.4252701</c:v>
                </c:pt>
                <c:pt idx="6">
                  <c:v>2852611633.8639679</c:v>
                </c:pt>
                <c:pt idx="7">
                  <c:v>4245747548.0766068</c:v>
                </c:pt>
                <c:pt idx="8">
                  <c:v>2852611633.8639679</c:v>
                </c:pt>
                <c:pt idx="9">
                  <c:v>4378427158.9539948</c:v>
                </c:pt>
                <c:pt idx="10">
                  <c:v>3516009688.2509308</c:v>
                </c:pt>
                <c:pt idx="11">
                  <c:v>4710126186.1474686</c:v>
                </c:pt>
                <c:pt idx="12">
                  <c:v>8624174707.0305939</c:v>
                </c:pt>
                <c:pt idx="13">
                  <c:v>7363718403.695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2ED-4267-A06D-5D4D5D628F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37527376"/>
        <c:axId val="1"/>
      </c:barChart>
      <c:lineChart>
        <c:grouping val="standard"/>
        <c:varyColors val="0"/>
        <c:ser>
          <c:idx val="5"/>
          <c:order val="5"/>
          <c:spPr>
            <a:ln w="19050" algn="ctr">
              <a:solidFill>
                <a:schemeClr val="tx2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62ED-4267-A06D-5D4D5D628FF7}"/>
              </c:ext>
            </c:extLst>
          </c:dPt>
          <c:dPt>
            <c:idx val="1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62ED-4267-A06D-5D4D5D628FF7}"/>
              </c:ext>
            </c:extLst>
          </c:dPt>
          <c:dPt>
            <c:idx val="2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62ED-4267-A06D-5D4D5D628FF7}"/>
              </c:ext>
            </c:extLst>
          </c:dPt>
          <c:dPt>
            <c:idx val="3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62ED-4267-A06D-5D4D5D628FF7}"/>
              </c:ext>
            </c:extLst>
          </c:dPt>
          <c:dPt>
            <c:idx val="4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62ED-4267-A06D-5D4D5D628FF7}"/>
              </c:ext>
            </c:extLst>
          </c:dPt>
          <c:dPt>
            <c:idx val="5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62ED-4267-A06D-5D4D5D628FF7}"/>
              </c:ext>
            </c:extLst>
          </c:dPt>
          <c:dPt>
            <c:idx val="6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62ED-4267-A06D-5D4D5D628FF7}"/>
              </c:ext>
            </c:extLst>
          </c:dPt>
          <c:dPt>
            <c:idx val="7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62ED-4267-A06D-5D4D5D628FF7}"/>
              </c:ext>
            </c:extLst>
          </c:dPt>
          <c:dPt>
            <c:idx val="8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62ED-4267-A06D-5D4D5D628FF7}"/>
              </c:ext>
            </c:extLst>
          </c:dPt>
          <c:dPt>
            <c:idx val="9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62ED-4267-A06D-5D4D5D628FF7}"/>
              </c:ext>
            </c:extLst>
          </c:dPt>
          <c:dPt>
            <c:idx val="10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F-62ED-4267-A06D-5D4D5D628FF7}"/>
              </c:ext>
            </c:extLst>
          </c:dPt>
          <c:dPt>
            <c:idx val="11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62ED-4267-A06D-5D4D5D628FF7}"/>
              </c:ext>
            </c:extLst>
          </c:dPt>
          <c:dPt>
            <c:idx val="12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62ED-4267-A06D-5D4D5D628FF7}"/>
              </c:ext>
            </c:extLst>
          </c:dPt>
          <c:dPt>
            <c:idx val="13"/>
            <c:marker>
              <c:symbol val="triang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62ED-4267-A06D-5D4D5D628FF7}"/>
              </c:ext>
            </c:extLst>
          </c:dPt>
          <c:dLbls>
            <c:dLbl>
              <c:idx val="0"/>
              <c:layout>
                <c:manualLayout>
                  <c:x val="0"/>
                  <c:y val="-9.3194122196442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2ED-4267-A06D-5D4D5D628FF7}"/>
                </c:ext>
              </c:extLst>
            </c:dLbl>
            <c:dLbl>
              <c:idx val="2"/>
              <c:layout>
                <c:manualLayout>
                  <c:x val="0"/>
                  <c:y val="-9.3194122196442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2ED-4267-A06D-5D4D5D628FF7}"/>
                </c:ext>
              </c:extLst>
            </c:dLbl>
            <c:dLbl>
              <c:idx val="3"/>
              <c:layout>
                <c:manualLayout>
                  <c:x val="0"/>
                  <c:y val="-9.3194122196442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2ED-4267-A06D-5D4D5D628FF7}"/>
                </c:ext>
              </c:extLst>
            </c:dLbl>
            <c:dLbl>
              <c:idx val="5"/>
              <c:layout>
                <c:manualLayout>
                  <c:x val="0"/>
                  <c:y val="-9.3194122196442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2ED-4267-A06D-5D4D5D628FF7}"/>
                </c:ext>
              </c:extLst>
            </c:dLbl>
            <c:dLbl>
              <c:idx val="6"/>
              <c:layout>
                <c:manualLayout>
                  <c:x val="0"/>
                  <c:y val="-9.3194122196442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2ED-4267-A06D-5D4D5D628FF7}"/>
                </c:ext>
              </c:extLst>
            </c:dLbl>
            <c:dLbl>
              <c:idx val="7"/>
              <c:layout>
                <c:manualLayout>
                  <c:x val="0"/>
                  <c:y val="-8.19798917246713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2ED-4267-A06D-5D4D5D628FF7}"/>
                </c:ext>
              </c:extLst>
            </c:dLbl>
            <c:dLbl>
              <c:idx val="8"/>
              <c:layout>
                <c:manualLayout>
                  <c:x val="0"/>
                  <c:y val="-8.19798917246713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2ED-4267-A06D-5D4D5D628FF7}"/>
                </c:ext>
              </c:extLst>
            </c:dLbl>
            <c:dLbl>
              <c:idx val="9"/>
              <c:layout>
                <c:manualLayout>
                  <c:x val="0"/>
                  <c:y val="-8.19798917246713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2ED-4267-A06D-5D4D5D628FF7}"/>
                </c:ext>
              </c:extLst>
            </c:dLbl>
            <c:dLbl>
              <c:idx val="10"/>
              <c:layout>
                <c:manualLayout>
                  <c:x val="0"/>
                  <c:y val="-8.19798917246713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2ED-4267-A06D-5D4D5D628FF7}"/>
                </c:ext>
              </c:extLst>
            </c:dLbl>
            <c:dLbl>
              <c:idx val="11"/>
              <c:layout>
                <c:manualLayout>
                  <c:x val="0"/>
                  <c:y val="-8.197989172467130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rot="-5400000" wrap="none"/>
                <a:lstStyle/>
                <a:p>
                  <a:pPr>
                    <a:defRPr sz="1400" kern="1200">
                      <a:solidFill>
                        <a:srgbClr val="C30C3E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2ED-4267-A06D-5D4D5D628FF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N$6</c:f>
              <c:numCache>
                <c:formatCode>General</c:formatCode>
                <c:ptCount val="14"/>
                <c:pt idx="0">
                  <c:v>37149.998163045988</c:v>
                </c:pt>
                <c:pt idx="1">
                  <c:v>15185.877374315562</c:v>
                </c:pt>
                <c:pt idx="2">
                  <c:v>15050.458688939354</c:v>
                </c:pt>
                <c:pt idx="3">
                  <c:v>13459.222522688346</c:v>
                </c:pt>
                <c:pt idx="4">
                  <c:v>13099.472761637866</c:v>
                </c:pt>
                <c:pt idx="5">
                  <c:v>12969.147622581393</c:v>
                </c:pt>
                <c:pt idx="6">
                  <c:v>11819.596427443013</c:v>
                </c:pt>
                <c:pt idx="7">
                  <c:v>9891.8904223185491</c:v>
                </c:pt>
                <c:pt idx="8">
                  <c:v>9569.1850240761923</c:v>
                </c:pt>
                <c:pt idx="9">
                  <c:v>9442.5964396003328</c:v>
                </c:pt>
                <c:pt idx="10">
                  <c:v>8740.3140075897172</c:v>
                </c:pt>
                <c:pt idx="11">
                  <c:v>7852.2408067470997</c:v>
                </c:pt>
                <c:pt idx="12">
                  <c:v>7820.3940880717728</c:v>
                </c:pt>
                <c:pt idx="13">
                  <c:v>7922.36872707298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3-62ED-4267-A06D-5D4D5D628F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"/>
        <c:axId val="2"/>
      </c:lineChart>
      <c:catAx>
        <c:axId val="20375273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2037527376"/>
        <c:crosses val="min"/>
        <c:crossBetween val="between"/>
        <c:majorUnit val="50000000000"/>
      </c:valAx>
      <c:valAx>
        <c:axId val="2"/>
        <c:scaling>
          <c:orientation val="minMax"/>
          <c:max val="400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pPr>
            <a:endParaRPr lang="fr-FR"/>
          </a:p>
        </c:txPr>
        <c:crossAx val="3"/>
        <c:crosses val="max"/>
        <c:crossBetween val="between"/>
        <c:majorUnit val="5000"/>
      </c:valAx>
      <c:catAx>
        <c:axId val="3"/>
        <c:scaling>
          <c:orientation val="minMax"/>
        </c:scaling>
        <c:delete val="1"/>
        <c:axPos val="b"/>
        <c:majorTickMark val="out"/>
        <c:minorTickMark val="none"/>
        <c:tickLblPos val="nextTo"/>
        <c:crossAx val="2"/>
        <c:crosses val="min"/>
        <c:auto val="0"/>
        <c:lblAlgn val="ctr"/>
        <c:lblOffset val="100"/>
        <c:noMultiLvlLbl val="0"/>
      </c:cat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67209162145871E-2"/>
          <c:y val="2.7239392352016764E-2"/>
          <c:w val="0.96865581675708257"/>
          <c:h val="0.9455212152959664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2899722798.590004</c:v>
                </c:pt>
                <c:pt idx="1">
                  <c:v>19730830011.600002</c:v>
                </c:pt>
                <c:pt idx="2">
                  <c:v>10619499478.119999</c:v>
                </c:pt>
                <c:pt idx="3">
                  <c:v>17423281764.539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76-4061-992F-FF9B182BC3D9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8927887565.346825</c:v>
                </c:pt>
                <c:pt idx="1">
                  <c:v>47876426169.103226</c:v>
                </c:pt>
                <c:pt idx="2">
                  <c:v>69718516199.400024</c:v>
                </c:pt>
                <c:pt idx="3">
                  <c:v>33759166618.226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76-4061-992F-FF9B182BC3D9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10471431556.997162</c:v>
                </c:pt>
                <c:pt idx="1">
                  <c:v>16236918000.597626</c:v>
                </c:pt>
                <c:pt idx="2">
                  <c:v>13435886966.202454</c:v>
                </c:pt>
                <c:pt idx="3">
                  <c:v>12476180754.3308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A76-4061-992F-FF9B182BC3D9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18081205788.510925</c:v>
                </c:pt>
                <c:pt idx="1">
                  <c:v>18036206890.996902</c:v>
                </c:pt>
                <c:pt idx="2">
                  <c:v>17647613331.214828</c:v>
                </c:pt>
                <c:pt idx="3">
                  <c:v>16934784417.1380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76-4061-992F-FF9B182BC3D9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0">
                  <c:v>2687233237.8803406</c:v>
                </c:pt>
                <c:pt idx="1">
                  <c:v>2955956561.6683807</c:v>
                </c:pt>
                <c:pt idx="2">
                  <c:v>3251552217.8352051</c:v>
                </c:pt>
                <c:pt idx="3">
                  <c:v>3576707439.6187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A76-4061-992F-FF9B182BC3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3026223"/>
        <c:axId val="1"/>
      </c:barChart>
      <c:catAx>
        <c:axId val="14730262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1473026223"/>
        <c:crosses val="min"/>
        <c:crossBetween val="between"/>
        <c:majorUnit val="2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321796071094481E-2"/>
          <c:y val="2.4390243902439025E-2"/>
          <c:w val="0.94855004677268473"/>
          <c:h val="0.9512195121951219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39C-49D9-93CF-2D720D81A9FA}"/>
              </c:ext>
            </c:extLst>
          </c:dPt>
          <c:dPt>
            <c:idx val="1"/>
            <c:bubble3D val="0"/>
            <c:spPr>
              <a:solidFill>
                <a:srgbClr val="FFC90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39C-49D9-93CF-2D720D81A9FA}"/>
              </c:ext>
            </c:extLst>
          </c:dPt>
          <c:dPt>
            <c:idx val="2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39C-49D9-93CF-2D720D81A9FA}"/>
              </c:ext>
            </c:extLst>
          </c:dPt>
          <c:dPt>
            <c:idx val="3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39C-49D9-93CF-2D720D81A9FA}"/>
              </c:ext>
            </c:extLst>
          </c:dPt>
          <c:dPt>
            <c:idx val="4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39C-49D9-93CF-2D720D81A9FA}"/>
              </c:ext>
            </c:extLst>
          </c:dPt>
          <c:dLbls>
            <c:dLbl>
              <c:idx val="0"/>
              <c:layout>
                <c:manualLayout>
                  <c:x val="1.8709073900841908E-2"/>
                  <c:y val="-0.1965290806754221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39C-49D9-93CF-2D720D81A9FA}"/>
                </c:ext>
              </c:extLst>
            </c:dLbl>
            <c:dLbl>
              <c:idx val="1"/>
              <c:layout>
                <c:manualLayout>
                  <c:x val="0.11786716557530402"/>
                  <c:y val="-0.12945590994371481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39C-49D9-93CF-2D720D81A9FA}"/>
                </c:ext>
              </c:extLst>
            </c:dLbl>
            <c:dLbl>
              <c:idx val="2"/>
              <c:layout>
                <c:manualLayout>
                  <c:x val="0.17586529466791395"/>
                  <c:y val="2.110694183864915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39C-49D9-93CF-2D720D81A9FA}"/>
                </c:ext>
              </c:extLst>
            </c:dLbl>
            <c:dLbl>
              <c:idx val="3"/>
              <c:layout>
                <c:manualLayout>
                  <c:x val="-8.699719363891488E-2"/>
                  <c:y val="0.15806754221388367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39C-49D9-93CF-2D720D81A9FA}"/>
                </c:ext>
              </c:extLst>
            </c:dLbl>
            <c:dLbl>
              <c:idx val="4"/>
              <c:layout>
                <c:manualLayout>
                  <c:x val="-9.2609915809167442E-2"/>
                  <c:y val="-0.15337711069418386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39C-49D9-93CF-2D720D81A9F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3.0661441187832006</c:v>
                </c:pt>
                <c:pt idx="1">
                  <c:v>17.381765342500223</c:v>
                </c:pt>
                <c:pt idx="2">
                  <c:v>12.936891058373106</c:v>
                </c:pt>
                <c:pt idx="3">
                  <c:v>49.239943435884932</c:v>
                </c:pt>
                <c:pt idx="4">
                  <c:v>17.375256044458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39C-49D9-93CF-2D720D81A9F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2533140515786937E-2"/>
          <c:y val="1.9771863117870721E-2"/>
          <c:w val="0.97493371896842618"/>
          <c:h val="0.9604562737642585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22899722798.590004</c:v>
                </c:pt>
                <c:pt idx="1">
                  <c:v>19730830011.600002</c:v>
                </c:pt>
                <c:pt idx="2">
                  <c:v>10619499478.119999</c:v>
                </c:pt>
                <c:pt idx="3">
                  <c:v>17423281764.5393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7F-4826-B801-BEE01501938E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48927887565.346825</c:v>
                </c:pt>
                <c:pt idx="1">
                  <c:v>47876426169.103226</c:v>
                </c:pt>
                <c:pt idx="2">
                  <c:v>69718516199.400024</c:v>
                </c:pt>
                <c:pt idx="3">
                  <c:v>33759166618.226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77F-4826-B801-BEE01501938E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D$3</c:f>
              <c:numCache>
                <c:formatCode>General</c:formatCode>
                <c:ptCount val="4"/>
                <c:pt idx="0">
                  <c:v>10471431556.997162</c:v>
                </c:pt>
                <c:pt idx="1">
                  <c:v>16236918000.597626</c:v>
                </c:pt>
                <c:pt idx="2">
                  <c:v>13435886966.202454</c:v>
                </c:pt>
                <c:pt idx="3">
                  <c:v>12476180754.3308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77F-4826-B801-BEE01501938E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D$4</c:f>
              <c:numCache>
                <c:formatCode>General</c:formatCode>
                <c:ptCount val="4"/>
                <c:pt idx="0">
                  <c:v>18081205788.510925</c:v>
                </c:pt>
                <c:pt idx="1">
                  <c:v>18036206890.996902</c:v>
                </c:pt>
                <c:pt idx="2">
                  <c:v>17647613331.214828</c:v>
                </c:pt>
                <c:pt idx="3">
                  <c:v>16934784417.1380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77F-4826-B801-BEE01501938E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D$5</c:f>
              <c:numCache>
                <c:formatCode>General</c:formatCode>
                <c:ptCount val="4"/>
                <c:pt idx="0">
                  <c:v>2687233237.8803406</c:v>
                </c:pt>
                <c:pt idx="1">
                  <c:v>2955956561.6683807</c:v>
                </c:pt>
                <c:pt idx="2">
                  <c:v>3251552217.8352051</c:v>
                </c:pt>
                <c:pt idx="3">
                  <c:v>3576707439.6187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77F-4826-B801-BEE0150193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05023311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sysDot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77F-4826-B801-BEE01501938E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B77F-4826-B801-BEE01501938E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B77F-4826-B801-BEE01501938E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77F-4826-B801-BEE01501938E}"/>
              </c:ext>
            </c:extLst>
          </c:dPt>
          <c:val>
            <c:numRef>
              <c:f>Sheet1!$A$6:$D$6</c:f>
              <c:numCache>
                <c:formatCode>General</c:formatCode>
                <c:ptCount val="4"/>
                <c:pt idx="0">
                  <c:v>99226530026</c:v>
                </c:pt>
                <c:pt idx="1">
                  <c:v>99226530026</c:v>
                </c:pt>
                <c:pt idx="2">
                  <c:v>99226530026</c:v>
                </c:pt>
                <c:pt idx="3">
                  <c:v>9922653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B77F-4826-B801-BEE0150193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5023311"/>
        <c:axId val="1"/>
      </c:lineChart>
      <c:catAx>
        <c:axId val="12050233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1205023311"/>
        <c:crosses val="min"/>
        <c:crossBetween val="between"/>
        <c:majorUnit val="1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427872860635695E-2"/>
          <c:y val="3.0805687203791468E-2"/>
          <c:w val="0.94914425427872862"/>
          <c:h val="0.9383886255924170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tx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C00B-4435-999F-4290910C2F67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8.4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00B-4435-999F-4290910C2F67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C00B-4435-999F-4290910C2F67}"/>
              </c:ext>
            </c:extLst>
          </c:dPt>
          <c:dLbls>
            <c:dLbl>
              <c:idx val="1"/>
              <c:layout>
                <c:manualLayout>
                  <c:x val="0"/>
                  <c:y val="-5.9241706161137445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00B-4435-999F-4290910C2F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0</c:v>
                </c:pt>
                <c:pt idx="1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00B-4435-999F-4290910C2F67}"/>
            </c:ext>
          </c:extLst>
        </c:ser>
        <c:ser>
          <c:idx val="2"/>
          <c:order val="2"/>
          <c:spPr>
            <a:solidFill>
              <a:srgbClr val="FFC90D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C00B-4435-999F-4290910C2F67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00B-4435-999F-4290910C2F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B$3</c:f>
              <c:numCache>
                <c:formatCode>General</c:formatCode>
                <c:ptCount val="2"/>
                <c:pt idx="0">
                  <c:v>0</c:v>
                </c:pt>
                <c:pt idx="1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C00B-4435-999F-4290910C2F67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C00B-4435-999F-4290910C2F67}"/>
              </c:ext>
            </c:extLst>
          </c:dPt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00B-4435-999F-4290910C2F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0</c:v>
                </c:pt>
                <c:pt idx="1">
                  <c:v>49.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00B-4435-999F-4290910C2F67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C00B-4435-999F-4290910C2F6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00B-4435-999F-4290910C2F6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00B-4435-999F-4290910C2F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34.799999999999997</c:v>
                </c:pt>
                <c:pt idx="1">
                  <c:v>17.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00B-4435-999F-4290910C2F67}"/>
            </c:ext>
          </c:extLst>
        </c:ser>
        <c:ser>
          <c:idx val="5"/>
          <c:order val="5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pattFill prst="ltDnDiag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C00B-4435-999F-4290910C2F6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C00B-4435-999F-4290910C2F6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B$6</c:f>
              <c:numCache>
                <c:formatCode>General</c:formatCode>
                <c:ptCount val="2"/>
                <c:pt idx="0">
                  <c:v>56.800000000000004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C00B-4435-999F-4290910C2F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54680959"/>
        <c:axId val="1"/>
      </c:barChart>
      <c:catAx>
        <c:axId val="16546809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6546809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903743315508022E-2"/>
          <c:y val="2.6544155181214904E-2"/>
          <c:w val="0.97219251336898393"/>
          <c:h val="0.946911689637570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3325757152.5678611</c:v>
                </c:pt>
                <c:pt idx="1">
                  <c:v>22573735514.72773</c:v>
                </c:pt>
                <c:pt idx="2">
                  <c:v>228462569.31059143</c:v>
                </c:pt>
                <c:pt idx="3">
                  <c:v>32308439885.814091</c:v>
                </c:pt>
                <c:pt idx="4">
                  <c:v>12236938930.429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0C-4329-9A87-09D42B76D46C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86620393740.642746</c:v>
                </c:pt>
                <c:pt idx="1">
                  <c:v>40070902133.478165</c:v>
                </c:pt>
                <c:pt idx="2">
                  <c:v>14315165340.984318</c:v>
                </c:pt>
                <c:pt idx="3">
                  <c:v>34476635702.453644</c:v>
                </c:pt>
                <c:pt idx="4">
                  <c:v>24798899634.5164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0C-4329-9A87-09D42B76D46C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0</c:v>
                </c:pt>
                <c:pt idx="1">
                  <c:v>52619569436.517998</c:v>
                </c:pt>
                <c:pt idx="2">
                  <c:v>0</c:v>
                </c:pt>
                <c:pt idx="3">
                  <c:v>847841.61000061035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0C-4329-9A87-09D42B76D46C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70685659877.350098</c:v>
                </c:pt>
                <c:pt idx="1">
                  <c:v>14150550.51060485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20C-4329-9A87-09D42B76D46C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5778685794.5514832</c:v>
                </c:pt>
                <c:pt idx="1">
                  <c:v>6692763662.4511719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20C-4329-9A87-09D42B76D4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87299183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sysDot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E20C-4329-9A87-09D42B76D46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E20C-4329-9A87-09D42B76D46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E20C-4329-9A87-09D42B76D46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E20C-4329-9A87-09D42B76D46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E20C-4329-9A87-09D42B76D46C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121726193196</c:v>
                </c:pt>
                <c:pt idx="1">
                  <c:v>169969950560</c:v>
                </c:pt>
                <c:pt idx="2">
                  <c:v>2001054622.3999999</c:v>
                </c:pt>
                <c:pt idx="3">
                  <c:v>92809859665.600006</c:v>
                </c:pt>
                <c:pt idx="4">
                  <c:v>10399062061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E20C-4329-9A87-09D42B76D4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87299183"/>
        <c:axId val="1"/>
      </c:lineChart>
      <c:catAx>
        <c:axId val="14872991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8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1487299183"/>
        <c:crosses val="min"/>
        <c:crossBetween val="between"/>
        <c:majorUnit val="2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84493041749503E-2"/>
          <c:y val="2.7310924369747899E-2"/>
          <c:w val="0.94831013916500995"/>
          <c:h val="0.945378151260504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74E-46E5-804E-5BC0E59266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2.6200306658998476</c:v>
                </c:pt>
                <c:pt idx="1">
                  <c:v>9.1053745590373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4E-46E5-804E-5BC0E59266C7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74E-46E5-804E-5BC0E59266C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74E-46E5-804E-5BC0E59266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B$2</c:f>
              <c:numCache>
                <c:formatCode>General</c:formatCode>
                <c:ptCount val="2"/>
                <c:pt idx="0">
                  <c:v>23.383327936819725</c:v>
                </c:pt>
                <c:pt idx="1">
                  <c:v>16.419524213927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74E-46E5-804E-5BC0E59266C7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0.50416320662115544</c:v>
                </c:pt>
                <c:pt idx="1">
                  <c:v>3.5755955501935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74E-46E5-804E-5BC0E59266C7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874E-46E5-804E-5BC0E59266C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874E-46E5-804E-5BC0E59266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B$4</c:f>
              <c:numCache>
                <c:formatCode>General</c:formatCode>
                <c:ptCount val="2"/>
                <c:pt idx="0">
                  <c:v>42.823716226592367</c:v>
                </c:pt>
                <c:pt idx="1">
                  <c:v>29.9869744505360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74E-46E5-804E-5BC0E59266C7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874E-46E5-804E-5BC0E59266C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874E-46E5-804E-5BC0E59266C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B$5</c:f>
              <c:numCache>
                <c:formatCode>General</c:formatCode>
                <c:ptCount val="2"/>
                <c:pt idx="0">
                  <c:v>30.668761964066928</c:v>
                </c:pt>
                <c:pt idx="1">
                  <c:v>40.9125312263058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74E-46E5-804E-5BC0E5926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279635359"/>
        <c:axId val="1"/>
      </c:barChart>
      <c:catAx>
        <c:axId val="12796353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.0000000000000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2796353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19324281654563E-2"/>
          <c:y val="5.5853920515574654E-2"/>
          <c:w val="0.96716135143669091"/>
          <c:h val="0.8882921589688507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867745230.02544236</c:v>
                </c:pt>
                <c:pt idx="1">
                  <c:v>472967051.6263032</c:v>
                </c:pt>
                <c:pt idx="2">
                  <c:v>1333239026.7194283</c:v>
                </c:pt>
                <c:pt idx="3">
                  <c:v>840373382.260921</c:v>
                </c:pt>
                <c:pt idx="4">
                  <c:v>909570850.972520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BF-4060-868F-D059527FAB95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11856342860.311455</c:v>
                </c:pt>
                <c:pt idx="1">
                  <c:v>17912933262.144531</c:v>
                </c:pt>
                <c:pt idx="2">
                  <c:v>13701687930.697989</c:v>
                </c:pt>
                <c:pt idx="3">
                  <c:v>12999826543.933233</c:v>
                </c:pt>
                <c:pt idx="4">
                  <c:v>19778012297.489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BF-4060-868F-D059527FAB95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1778415312.2661095</c:v>
                </c:pt>
                <c:pt idx="1">
                  <c:v>1066220869.9759178</c:v>
                </c:pt>
                <c:pt idx="2">
                  <c:v>2126957352.7612324</c:v>
                </c:pt>
                <c:pt idx="3">
                  <c:v>1875833177.8860016</c:v>
                </c:pt>
                <c:pt idx="4">
                  <c:v>2143730805.09512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BF-4060-868F-D059527FAB95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3040091848.3980083</c:v>
                </c:pt>
                <c:pt idx="1">
                  <c:v>2403793554.5472641</c:v>
                </c:pt>
                <c:pt idx="2">
                  <c:v>3676390142.2487564</c:v>
                </c:pt>
                <c:pt idx="3">
                  <c:v>777697914.70646858</c:v>
                </c:pt>
                <c:pt idx="4">
                  <c:v>3464290710.9651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ABF-4060-868F-D059527FAB95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536272326.65111542</c:v>
                </c:pt>
                <c:pt idx="1">
                  <c:v>424029281.53808975</c:v>
                </c:pt>
                <c:pt idx="2">
                  <c:v>648515371.76413727</c:v>
                </c:pt>
                <c:pt idx="3">
                  <c:v>137185944.02702904</c:v>
                </c:pt>
                <c:pt idx="4">
                  <c:v>611101023.39313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ABF-4060-868F-D059527FAB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10199519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sysDot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CABF-4060-868F-D059527FAB95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CABF-4060-868F-D059527FAB95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CABF-4060-868F-D059527FAB95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CABF-4060-868F-D059527FAB95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CABF-4060-868F-D059527FAB95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45923595872.800003</c:v>
                </c:pt>
                <c:pt idx="1">
                  <c:v>34871519872.800003</c:v>
                </c:pt>
                <c:pt idx="2">
                  <c:v>21842693015.200001</c:v>
                </c:pt>
                <c:pt idx="3">
                  <c:v>20857142614.400002</c:v>
                </c:pt>
                <c:pt idx="4">
                  <c:v>17596093215.2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CABF-4060-868F-D059527FAB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10199519"/>
        <c:axId val="1"/>
      </c:lineChart>
      <c:catAx>
        <c:axId val="15101995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1510199519"/>
        <c:crosses val="min"/>
        <c:crossBetween val="between"/>
        <c:majorUnit val="2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19324281654563E-2"/>
          <c:y val="5.7080131723380903E-2"/>
          <c:w val="0.96716135143669091"/>
          <c:h val="0.8858397365532382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F$1</c:f>
              <c:numCache>
                <c:formatCode>General</c:formatCode>
                <c:ptCount val="6"/>
                <c:pt idx="0">
                  <c:v>1818883796.9723241</c:v>
                </c:pt>
                <c:pt idx="1">
                  <c:v>3303238190.9563036</c:v>
                </c:pt>
                <c:pt idx="2">
                  <c:v>914054658.51832724</c:v>
                </c:pt>
                <c:pt idx="3">
                  <c:v>1076246921.6763034</c:v>
                </c:pt>
                <c:pt idx="4">
                  <c:v>1115390833.4859674</c:v>
                </c:pt>
                <c:pt idx="5">
                  <c:v>2161635976.57734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01C-410C-80E9-0EABB75BA9F6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F$2</c:f>
              <c:numCache>
                <c:formatCode>General</c:formatCode>
                <c:ptCount val="6"/>
                <c:pt idx="0">
                  <c:v>3742500643.832346</c:v>
                </c:pt>
                <c:pt idx="1">
                  <c:v>3099942345.4959812</c:v>
                </c:pt>
                <c:pt idx="2">
                  <c:v>2655619534.7924995</c:v>
                </c:pt>
                <c:pt idx="3">
                  <c:v>11599581015.357536</c:v>
                </c:pt>
                <c:pt idx="4">
                  <c:v>2875665497.1801224</c:v>
                </c:pt>
                <c:pt idx="5">
                  <c:v>2363360561.8551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01C-410C-80E9-0EABB75BA9F6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F$3</c:f>
              <c:numCache>
                <c:formatCode>General</c:formatCode>
                <c:ptCount val="6"/>
                <c:pt idx="0">
                  <c:v>4257366760.3462601</c:v>
                </c:pt>
                <c:pt idx="1">
                  <c:v>5125647287.2012682</c:v>
                </c:pt>
                <c:pt idx="2">
                  <c:v>3550513782.4675708</c:v>
                </c:pt>
                <c:pt idx="3">
                  <c:v>1307116816.7418594</c:v>
                </c:pt>
                <c:pt idx="4">
                  <c:v>1976469667.566927</c:v>
                </c:pt>
                <c:pt idx="5">
                  <c:v>3037677803.01066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1C-410C-80E9-0EABB75BA9F6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F$4</c:f>
              <c:numCache>
                <c:formatCode>General</c:formatCode>
                <c:ptCount val="6"/>
                <c:pt idx="0">
                  <c:v>7847678957.4925365</c:v>
                </c:pt>
                <c:pt idx="1">
                  <c:v>9190975355.621891</c:v>
                </c:pt>
                <c:pt idx="2">
                  <c:v>5019686540.3781099</c:v>
                </c:pt>
                <c:pt idx="3">
                  <c:v>2969392037.97015</c:v>
                </c:pt>
                <c:pt idx="4">
                  <c:v>3040091848.3980103</c:v>
                </c:pt>
                <c:pt idx="5">
                  <c:v>3747089952.67661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01C-410C-80E9-0EABB75BA9F6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F$5</c:f>
              <c:numCache>
                <c:formatCode>General</c:formatCode>
                <c:ptCount val="6"/>
                <c:pt idx="0">
                  <c:v>1384330889.7272949</c:v>
                </c:pt>
                <c:pt idx="1">
                  <c:v>1621288429.410347</c:v>
                </c:pt>
                <c:pt idx="2">
                  <c:v>885472911.44718933</c:v>
                </c:pt>
                <c:pt idx="3">
                  <c:v>523800877.19411087</c:v>
                </c:pt>
                <c:pt idx="4">
                  <c:v>536272326.65111351</c:v>
                </c:pt>
                <c:pt idx="5">
                  <c:v>660986821.22114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01C-410C-80E9-0EABB75BA9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473032047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sysDot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301C-410C-80E9-0EABB75BA9F6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301C-410C-80E9-0EABB75BA9F6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301C-410C-80E9-0EABB75BA9F6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301C-410C-80E9-0EABB75BA9F6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301C-410C-80E9-0EABB75BA9F6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301C-410C-80E9-0EABB75BA9F6}"/>
              </c:ext>
            </c:extLst>
          </c:dPt>
          <c:val>
            <c:numRef>
              <c:f>Sheet1!$A$6:$F$6</c:f>
              <c:numCache>
                <c:formatCode>General</c:formatCode>
                <c:ptCount val="6"/>
                <c:pt idx="0">
                  <c:v>38738874901.599998</c:v>
                </c:pt>
                <c:pt idx="1">
                  <c:v>35213609187.200005</c:v>
                </c:pt>
                <c:pt idx="2">
                  <c:v>26653424606.400002</c:v>
                </c:pt>
                <c:pt idx="3">
                  <c:v>20308151518.400002</c:v>
                </c:pt>
                <c:pt idx="4">
                  <c:v>20007307659</c:v>
                </c:pt>
                <c:pt idx="5">
                  <c:v>174705163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301C-410C-80E9-0EABB75BA9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73032047"/>
        <c:axId val="1"/>
      </c:lineChart>
      <c:catAx>
        <c:axId val="147303204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1473032047"/>
        <c:crosses val="min"/>
        <c:crossBetween val="between"/>
        <c:majorUnit val="2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69730040206779E-3"/>
          <c:y val="2.1621621621621623E-2"/>
          <c:w val="0.98506605399195868"/>
          <c:h val="0.956756756756756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90D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B21-4A7E-967D-9F4445CE07ED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B21-4A7E-967D-9F4445CE07ED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B21-4A7E-967D-9F4445CE07ED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B21-4A7E-967D-9F4445CE07ED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AB21-4A7E-967D-9F4445CE07E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B21-4A7E-967D-9F4445CE07ED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AB21-4A7E-967D-9F4445CE07ED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AB21-4A7E-967D-9F4445CE07ED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AB21-4A7E-967D-9F4445CE07ED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AB21-4A7E-967D-9F4445CE07ED}"/>
              </c:ext>
            </c:extLst>
          </c:dPt>
          <c:dPt>
            <c:idx val="12"/>
            <c:invertIfNegative val="0"/>
            <c:bubble3D val="0"/>
            <c:spPr>
              <a:solidFill>
                <a:srgbClr val="96969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AB21-4A7E-967D-9F4445CE07ED}"/>
              </c:ext>
            </c:extLst>
          </c:dPt>
          <c:dPt>
            <c:idx val="13"/>
            <c:invertIfNegative val="0"/>
            <c:bubble3D val="0"/>
            <c:spPr>
              <a:solidFill>
                <a:srgbClr val="96969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AB21-4A7E-967D-9F4445CE07ED}"/>
              </c:ext>
            </c:extLst>
          </c:dPt>
          <c:dPt>
            <c:idx val="14"/>
            <c:invertIfNegative val="0"/>
            <c:bubble3D val="0"/>
            <c:spPr>
              <a:solidFill>
                <a:srgbClr val="96969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AB21-4A7E-967D-9F4445CE07ED}"/>
              </c:ext>
            </c:extLst>
          </c:dPt>
          <c:dPt>
            <c:idx val="15"/>
            <c:invertIfNegative val="0"/>
            <c:bubble3D val="0"/>
            <c:spPr>
              <a:solidFill>
                <a:srgbClr val="96969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AB21-4A7E-967D-9F4445CE07ED}"/>
              </c:ext>
            </c:extLst>
          </c:dPt>
          <c:dPt>
            <c:idx val="16"/>
            <c:invertIfNegative val="0"/>
            <c:bubble3D val="0"/>
            <c:spPr>
              <a:solidFill>
                <a:srgbClr val="969696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AB21-4A7E-967D-9F4445CE07ED}"/>
              </c:ext>
            </c:extLst>
          </c:dPt>
          <c:dPt>
            <c:idx val="24"/>
            <c:invertIfNegative val="0"/>
            <c:bubble3D val="0"/>
            <c:spPr>
              <a:solidFill>
                <a:schemeClr val="tx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AB21-4A7E-967D-9F4445CE07ED}"/>
              </c:ext>
            </c:extLst>
          </c:dPt>
          <c:dPt>
            <c:idx val="25"/>
            <c:invertIfNegative val="0"/>
            <c:bubble3D val="0"/>
            <c:spPr>
              <a:solidFill>
                <a:schemeClr val="tx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AB21-4A7E-967D-9F4445CE07ED}"/>
              </c:ext>
            </c:extLst>
          </c:dPt>
          <c:dPt>
            <c:idx val="26"/>
            <c:invertIfNegative val="0"/>
            <c:bubble3D val="0"/>
            <c:spPr>
              <a:solidFill>
                <a:schemeClr val="tx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AB21-4A7E-967D-9F4445CE07ED}"/>
              </c:ext>
            </c:extLst>
          </c:dPt>
          <c:dPt>
            <c:idx val="27"/>
            <c:invertIfNegative val="0"/>
            <c:bubble3D val="0"/>
            <c:spPr>
              <a:solidFill>
                <a:schemeClr val="tx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2-AB21-4A7E-967D-9F4445CE07ED}"/>
              </c:ext>
            </c:extLst>
          </c:dPt>
          <c:dPt>
            <c:idx val="28"/>
            <c:invertIfNegative val="0"/>
            <c:bubble3D val="0"/>
            <c:spPr>
              <a:solidFill>
                <a:schemeClr val="tx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AB21-4A7E-967D-9F4445CE07ED}"/>
              </c:ext>
            </c:extLst>
          </c:dPt>
          <c:val>
            <c:numRef>
              <c:f>Sheet1!$A$1:$AC$1</c:f>
              <c:numCache>
                <c:formatCode>General</c:formatCode>
                <c:ptCount val="29"/>
                <c:pt idx="0">
                  <c:v>124137816174.00002</c:v>
                </c:pt>
                <c:pt idx="1">
                  <c:v>152507763433</c:v>
                </c:pt>
                <c:pt idx="2">
                  <c:v>143558383382</c:v>
                </c:pt>
                <c:pt idx="3">
                  <c:v>178028027933.99969</c:v>
                </c:pt>
                <c:pt idx="4">
                  <c:v>176367519697.00052</c:v>
                </c:pt>
                <c:pt idx="6">
                  <c:v>98084087089.582886</c:v>
                </c:pt>
                <c:pt idx="7">
                  <c:v>114133588636.98438</c:v>
                </c:pt>
                <c:pt idx="8">
                  <c:v>160691698671.10999</c:v>
                </c:pt>
                <c:pt idx="9">
                  <c:v>66998056524.342201</c:v>
                </c:pt>
                <c:pt idx="10">
                  <c:v>57458320420.647354</c:v>
                </c:pt>
                <c:pt idx="12">
                  <c:v>10765240593.975334</c:v>
                </c:pt>
                <c:pt idx="13">
                  <c:v>22126789537.757462</c:v>
                </c:pt>
                <c:pt idx="14">
                  <c:v>18323962770.874672</c:v>
                </c:pt>
                <c:pt idx="15">
                  <c:v>17015108287.240793</c:v>
                </c:pt>
                <c:pt idx="16">
                  <c:v>16360681045.423855</c:v>
                </c:pt>
                <c:pt idx="18">
                  <c:v>49288392395.42379</c:v>
                </c:pt>
                <c:pt idx="19">
                  <c:v>49173247977.953423</c:v>
                </c:pt>
                <c:pt idx="20">
                  <c:v>48127135510.160187</c:v>
                </c:pt>
                <c:pt idx="21">
                  <c:v>46202633372.343445</c:v>
                </c:pt>
                <c:pt idx="22">
                  <c:v>43502240248.377663</c:v>
                </c:pt>
                <c:pt idx="24">
                  <c:v>10866293007.272091</c:v>
                </c:pt>
                <c:pt idx="25">
                  <c:v>11952922307.999304</c:v>
                </c:pt>
                <c:pt idx="26">
                  <c:v>13148214538.799219</c:v>
                </c:pt>
                <c:pt idx="27">
                  <c:v>14463035992.679161</c:v>
                </c:pt>
                <c:pt idx="28">
                  <c:v>15909339591.947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B21-4A7E-967D-9F4445CE07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970121583"/>
        <c:axId val="1"/>
      </c:barChart>
      <c:catAx>
        <c:axId val="197012158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1970121583"/>
        <c:crosses val="min"/>
        <c:crossBetween val="between"/>
        <c:majorUnit val="5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19324281654563E-2"/>
          <c:y val="5.689277899343545E-2"/>
          <c:w val="0.96716135143669091"/>
          <c:h val="0.8862144420131291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10268499076.479424</c:v>
                </c:pt>
                <c:pt idx="1">
                  <c:v>1623749795.1563034</c:v>
                </c:pt>
                <c:pt idx="2">
                  <c:v>1698736092.46913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0A-484C-817A-E33678005ACF}"/>
            </c:ext>
          </c:extLst>
        </c:ser>
        <c:ser>
          <c:idx val="1"/>
          <c:order val="1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5191251095.7209854</c:v>
                </c:pt>
                <c:pt idx="1">
                  <c:v>11296079608.889675</c:v>
                </c:pt>
                <c:pt idx="2">
                  <c:v>3291152812.63576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0A-484C-817A-E33678005ACF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:$C$3</c:f>
              <c:numCache>
                <c:formatCode>General</c:formatCode>
                <c:ptCount val="3"/>
                <c:pt idx="0">
                  <c:v>18809920623.018608</c:v>
                </c:pt>
                <c:pt idx="1">
                  <c:v>2374161066.1744289</c:v>
                </c:pt>
                <c:pt idx="2">
                  <c:v>3190385953.6160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0A-484C-817A-E33678005ACF}"/>
            </c:ext>
          </c:extLst>
        </c:ser>
        <c:ser>
          <c:idx val="3"/>
          <c:order val="3"/>
          <c:spPr>
            <a:solidFill>
              <a:srgbClr val="FFC90D"/>
            </a:solidFill>
            <a:ln>
              <a:noFill/>
            </a:ln>
          </c:spPr>
          <c:invertIfNegative val="0"/>
          <c:val>
            <c:numRef>
              <c:f>Sheet1!$A$4:$C$4</c:f>
              <c:numCache>
                <c:formatCode>General</c:formatCode>
                <c:ptCount val="3"/>
                <c:pt idx="0">
                  <c:v>16331656208.835823</c:v>
                </c:pt>
                <c:pt idx="1">
                  <c:v>4524787867.3830853</c:v>
                </c:pt>
                <c:pt idx="2">
                  <c:v>4666187488.2388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60A-484C-817A-E33678005ACF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5:$C$5</c:f>
              <c:numCache>
                <c:formatCode>General</c:formatCode>
                <c:ptCount val="3"/>
                <c:pt idx="0">
                  <c:v>2880904824.5676117</c:v>
                </c:pt>
                <c:pt idx="1">
                  <c:v>798172765.24816895</c:v>
                </c:pt>
                <c:pt idx="2">
                  <c:v>823115664.16217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60A-484C-817A-E33678005A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9612063"/>
        <c:axId val="1"/>
      </c:barChart>
      <c:lineChart>
        <c:grouping val="standard"/>
        <c:varyColors val="0"/>
        <c:ser>
          <c:idx val="5"/>
          <c:order val="5"/>
          <c:spPr>
            <a:ln w="38100" algn="ctr">
              <a:solidFill>
                <a:srgbClr val="C30C3E"/>
              </a:solidFill>
              <a:prstDash val="sysDot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760A-484C-817A-E33678005ACF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760A-484C-817A-E33678005ACF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760A-484C-817A-E33678005ACF}"/>
              </c:ext>
            </c:extLst>
          </c:dPt>
          <c:val>
            <c:numRef>
              <c:f>Sheet1!$A$6:$C$6</c:f>
              <c:numCache>
                <c:formatCode>General</c:formatCode>
                <c:ptCount val="3"/>
                <c:pt idx="0">
                  <c:v>57761240899.200005</c:v>
                </c:pt>
                <c:pt idx="1">
                  <c:v>22600676184</c:v>
                </c:pt>
                <c:pt idx="2">
                  <c:v>210627356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760A-484C-817A-E33678005A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79612063"/>
        <c:axId val="1"/>
      </c:lineChart>
      <c:catAx>
        <c:axId val="12796120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1279612063"/>
        <c:crosses val="min"/>
        <c:crossBetween val="between"/>
        <c:majorUnit val="2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275430359937403E-2"/>
          <c:y val="2.3370786516853932E-2"/>
          <c:w val="0.96744913928012521"/>
          <c:h val="0.9532584269662921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24133897253.81604</c:v>
                </c:pt>
                <c:pt idx="1">
                  <c:v>4177728857.0505695</c:v>
                </c:pt>
                <c:pt idx="2">
                  <c:v>16969978118.285311</c:v>
                </c:pt>
                <c:pt idx="3">
                  <c:v>15700479938.669044</c:v>
                </c:pt>
                <c:pt idx="4">
                  <c:v>4308021259.8833132</c:v>
                </c:pt>
                <c:pt idx="5">
                  <c:v>1542105034.6476567</c:v>
                </c:pt>
                <c:pt idx="6">
                  <c:v>14950000</c:v>
                </c:pt>
                <c:pt idx="7">
                  <c:v>100249424.12860329</c:v>
                </c:pt>
                <c:pt idx="8">
                  <c:v>1512081166.36881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D3-4382-8009-BF1385BFE584}"/>
            </c:ext>
          </c:extLst>
        </c:ser>
        <c:ser>
          <c:idx val="1"/>
          <c:order val="1"/>
          <c:spPr>
            <a:solidFill>
              <a:schemeClr val="accent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3484133078.8371582</c:v>
                </c:pt>
                <c:pt idx="1">
                  <c:v>121863737020.89828</c:v>
                </c:pt>
                <c:pt idx="2">
                  <c:v>21202065601.329597</c:v>
                </c:pt>
                <c:pt idx="3">
                  <c:v>12587660409.590324</c:v>
                </c:pt>
                <c:pt idx="4">
                  <c:v>12734228878.966785</c:v>
                </c:pt>
                <c:pt idx="5">
                  <c:v>5091855173.0264997</c:v>
                </c:pt>
                <c:pt idx="6">
                  <c:v>13106411478.365372</c:v>
                </c:pt>
                <c:pt idx="7">
                  <c:v>7341794866.7293053</c:v>
                </c:pt>
                <c:pt idx="8">
                  <c:v>1957103229.2928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D3-4382-8009-BF1385BFE584}"/>
            </c:ext>
          </c:extLst>
        </c:ser>
        <c:ser>
          <c:idx val="2"/>
          <c:order val="2"/>
          <c:spPr>
            <a:solidFill>
              <a:srgbClr val="FFC90D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0">
                  <c:v>70518052260.683517</c:v>
                </c:pt>
                <c:pt idx="1">
                  <c:v>167607616.666580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14150550.510601044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7D3-4382-8009-BF1385BFE584}"/>
            </c:ext>
          </c:extLst>
        </c:ser>
        <c:ser>
          <c:idx val="3"/>
          <c:order val="3"/>
          <c:spPr>
            <a:solidFill>
              <a:srgbClr val="96969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I$4</c:f>
              <c:numCache>
                <c:formatCode>General</c:formatCode>
                <c:ptCount val="9"/>
                <c:pt idx="0">
                  <c:v>47675207353.241684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4945209924.8862953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7D3-4382-8009-BF1385BFE584}"/>
            </c:ext>
          </c:extLst>
        </c:ser>
        <c:ser>
          <c:idx val="4"/>
          <c:order val="4"/>
          <c:spPr>
            <a:solidFill>
              <a:schemeClr val="tx2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I$5</c:f>
              <c:numCache>
                <c:formatCode>General</c:formatCode>
                <c:ptCount val="9"/>
                <c:pt idx="0">
                  <c:v>0</c:v>
                </c:pt>
                <c:pt idx="1">
                  <c:v>2710104594.0232239</c:v>
                </c:pt>
                <c:pt idx="2">
                  <c:v>0</c:v>
                </c:pt>
                <c:pt idx="3">
                  <c:v>0</c:v>
                </c:pt>
                <c:pt idx="4">
                  <c:v>1302328922.8339653</c:v>
                </c:pt>
                <c:pt idx="5">
                  <c:v>6692763662.4511642</c:v>
                </c:pt>
                <c:pt idx="6">
                  <c:v>1394158299.7417431</c:v>
                </c:pt>
                <c:pt idx="7">
                  <c:v>372093977.95256138</c:v>
                </c:pt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D3-4382-8009-BF1385BFE5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14908032"/>
        <c:axId val="1"/>
      </c:barChart>
      <c:catAx>
        <c:axId val="11490803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45811289946.578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4908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563581640331076E-2"/>
          <c:y val="2.4118738404452691E-2"/>
          <c:w val="0.96087283671933787"/>
          <c:h val="0.951762523191094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0FC-4F7F-8703-324AD2DD2752}"/>
              </c:ext>
            </c:extLst>
          </c:dPt>
          <c:dPt>
            <c:idx val="3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0FC-4F7F-8703-324AD2DD2752}"/>
              </c:ext>
            </c:extLst>
          </c:dPt>
          <c:dLbls>
            <c:dLbl>
              <c:idx val="3"/>
              <c:layout>
                <c:manualLayout>
                  <c:x val="0"/>
                  <c:y val="-4.6382189239332097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.2087239374910319</c:v>
                </c:pt>
                <c:pt idx="1">
                  <c:v>0.9816487668790449</c:v>
                </c:pt>
                <c:pt idx="2">
                  <c:v>2.0014976596068306E-2</c:v>
                </c:pt>
                <c:pt idx="3">
                  <c:v>9.3978918843386001</c:v>
                </c:pt>
                <c:pt idx="4">
                  <c:v>2.9835664189268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0FC-4F7F-8703-324AD2DD2752}"/>
            </c:ext>
          </c:extLst>
        </c:ser>
        <c:ser>
          <c:idx val="1"/>
          <c:order val="1"/>
          <c:spPr>
            <a:solidFill>
              <a:schemeClr val="accent5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60FC-4F7F-8703-324AD2DD275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60FC-4F7F-8703-324AD2DD2752}"/>
              </c:ext>
            </c:extLst>
          </c:dPt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0.14643612242342363</c:v>
                </c:pt>
                <c:pt idx="1">
                  <c:v>3.6825159601866817</c:v>
                </c:pt>
                <c:pt idx="2">
                  <c:v>0</c:v>
                </c:pt>
                <c:pt idx="3">
                  <c:v>0</c:v>
                </c:pt>
                <c:pt idx="4">
                  <c:v>11.178799261050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0FC-4F7F-8703-324AD2DD2752}"/>
            </c:ext>
          </c:extLst>
        </c:ser>
        <c:ser>
          <c:idx val="2"/>
          <c:order val="2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8-60FC-4F7F-8703-324AD2DD275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rgbClr val="D6D7D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A-60FC-4F7F-8703-324AD2DD2752}"/>
              </c:ext>
            </c:extLst>
          </c:dPt>
          <c:dLbls>
            <c:dLbl>
              <c:idx val="1"/>
              <c:layout>
                <c:manualLayout>
                  <c:x val="4.4018058690744918E-2"/>
                  <c:y val="-4.6382189239332097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0FC-4F7F-8703-324AD2DD2752}"/>
                </c:ext>
              </c:extLst>
            </c:dLbl>
            <c:dLbl>
              <c:idx val="4"/>
              <c:layout>
                <c:manualLayout>
                  <c:x val="0"/>
                  <c:y val="-4.6382189239332097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2.1837731730227003E-2</c:v>
                </c:pt>
                <c:pt idx="1">
                  <c:v>6.573946878926594</c:v>
                </c:pt>
                <c:pt idx="2">
                  <c:v>0</c:v>
                </c:pt>
                <c:pt idx="3">
                  <c:v>0</c:v>
                </c:pt>
                <c:pt idx="4">
                  <c:v>53.6646817639405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0FC-4F7F-8703-324AD2DD2752}"/>
            </c:ext>
          </c:extLst>
        </c:ser>
        <c:ser>
          <c:idx val="3"/>
          <c:order val="3"/>
          <c:spPr>
            <a:solidFill>
              <a:srgbClr val="D6D7D9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D-60FC-4F7F-8703-324AD2DD275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E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60FC-4F7F-8703-324AD2DD2752}"/>
              </c:ext>
            </c:extLst>
          </c:dPt>
          <c:dLbls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E$4</c:f>
              <c:numCache>
                <c:formatCode>General</c:formatCode>
                <c:ptCount val="5"/>
                <c:pt idx="0">
                  <c:v>2.2525803375563846</c:v>
                </c:pt>
                <c:pt idx="1">
                  <c:v>2.5539855419554254</c:v>
                </c:pt>
                <c:pt idx="2">
                  <c:v>0</c:v>
                </c:pt>
                <c:pt idx="3">
                  <c:v>0</c:v>
                </c:pt>
                <c:pt idx="4">
                  <c:v>10.4424824662438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0FC-4F7F-8703-324AD2DD2752}"/>
            </c:ext>
          </c:extLst>
        </c:ser>
        <c:ser>
          <c:idx val="4"/>
          <c:order val="4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1-60FC-4F7F-8703-324AD2DD275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2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60FC-4F7F-8703-324AD2DD2752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0FC-4F7F-8703-324AD2DD2752}"/>
                </c:ext>
              </c:extLst>
            </c:dLbl>
            <c:dLbl>
              <c:idx val="1"/>
              <c:layout>
                <c:manualLayout>
                  <c:x val="4.4018058690744918E-2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6.2928035158158089</c:v>
                </c:pt>
                <c:pt idx="1">
                  <c:v>6.3872665933468324</c:v>
                </c:pt>
                <c:pt idx="2">
                  <c:v>0.23706940040186145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60FC-4F7F-8703-324AD2DD2752}"/>
            </c:ext>
          </c:extLst>
        </c:ser>
        <c:ser>
          <c:idx val="5"/>
          <c:order val="5"/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5-60FC-4F7F-8703-324AD2DD2752}"/>
              </c:ext>
            </c:extLst>
          </c:dPt>
          <c:dPt>
            <c:idx val="3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6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7-60FC-4F7F-8703-324AD2DD2752}"/>
              </c:ext>
            </c:extLst>
          </c:dPt>
          <c:dLbls>
            <c:dLbl>
              <c:idx val="0"/>
              <c:layout>
                <c:manualLayout>
                  <c:x val="0"/>
                  <c:y val="-4.6382189239332097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60FC-4F7F-8703-324AD2DD275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60FC-4F7F-8703-324AD2DD275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0FC-4F7F-8703-324AD2DD2752}"/>
                </c:ext>
              </c:extLst>
            </c:dLbl>
            <c:dLbl>
              <c:idx val="3"/>
              <c:layout>
                <c:manualLayout>
                  <c:x val="0"/>
                  <c:y val="-4.6382189239332097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0">
                  <c:v>22.933971166318766</c:v>
                </c:pt>
                <c:pt idx="1">
                  <c:v>6.3137504113318723</c:v>
                </c:pt>
                <c:pt idx="2">
                  <c:v>99.742915623002077</c:v>
                </c:pt>
                <c:pt idx="3">
                  <c:v>90.602108115661409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60FC-4F7F-8703-324AD2DD2752}"/>
            </c:ext>
          </c:extLst>
        </c:ser>
        <c:ser>
          <c:idx val="6"/>
          <c:order val="6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B-60FC-4F7F-8703-324AD2DD275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C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D-60FC-4F7F-8703-324AD2DD2752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60FC-4F7F-8703-324AD2DD275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60FC-4F7F-8703-324AD2DD2752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E$7</c:f>
              <c:numCache>
                <c:formatCode>General</c:formatCode>
                <c:ptCount val="5"/>
                <c:pt idx="0">
                  <c:v>24.788349807019205</c:v>
                </c:pt>
                <c:pt idx="1">
                  <c:v>10.634585463514012</c:v>
                </c:pt>
                <c:pt idx="2">
                  <c:v>0</c:v>
                </c:pt>
                <c:pt idx="3">
                  <c:v>0</c:v>
                </c:pt>
                <c:pt idx="4">
                  <c:v>21.7304700898379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60FC-4F7F-8703-324AD2DD2752}"/>
            </c:ext>
          </c:extLst>
        </c:ser>
        <c:ser>
          <c:idx val="7"/>
          <c:order val="7"/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F-60FC-4F7F-8703-324AD2DD275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0-60FC-4F7F-8703-324AD2DD2752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1-60FC-4F7F-8703-324AD2DD2752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60FC-4F7F-8703-324AD2DD275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:$E$8</c:f>
              <c:numCache>
                <c:formatCode>General</c:formatCode>
                <c:ptCount val="5"/>
                <c:pt idx="0">
                  <c:v>6.1024830783878432</c:v>
                </c:pt>
                <c:pt idx="1">
                  <c:v>61.124720139091934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60FC-4F7F-8703-324AD2DD2752}"/>
            </c:ext>
          </c:extLst>
        </c:ser>
        <c:ser>
          <c:idx val="8"/>
          <c:order val="8"/>
          <c:spPr>
            <a:solidFill>
              <a:srgbClr val="00777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5-60FC-4F7F-8703-324AD2DD2752}"/>
              </c:ext>
            </c:extLst>
          </c:dPt>
          <c:dPt>
            <c:idx val="1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26-60FC-4F7F-8703-324AD2DD2752}"/>
              </c:ext>
            </c:extLst>
          </c:dPt>
          <c:dLbls>
            <c:dLbl>
              <c:idx val="0"/>
              <c:layout>
                <c:manualLayout>
                  <c:x val="0"/>
                  <c:y val="-4.6382189239332097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60FC-4F7F-8703-324AD2DD27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:$E$9</c:f>
              <c:numCache>
                <c:formatCode>General</c:formatCode>
                <c:ptCount val="5"/>
                <c:pt idx="0">
                  <c:v>35.25281430325731</c:v>
                </c:pt>
                <c:pt idx="1">
                  <c:v>1.747580244767588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60FC-4F7F-8703-324AD2DD27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10048768"/>
        <c:axId val="1"/>
      </c:barChart>
      <c:catAx>
        <c:axId val="1100487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0487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4E-2"/>
          <c:y val="1.6265248670628715E-2"/>
          <c:w val="0.97919999999999996"/>
          <c:h val="0.9674695026587425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1:$M$1</c:f>
              <c:numCache>
                <c:formatCode>General</c:formatCode>
                <c:ptCount val="13"/>
                <c:pt idx="0">
                  <c:v>22394278660.497643</c:v>
                </c:pt>
                <c:pt idx="1">
                  <c:v>29257057971.548557</c:v>
                </c:pt>
                <c:pt idx="2">
                  <c:v>4493886833.3404703</c:v>
                </c:pt>
                <c:pt idx="3">
                  <c:v>7440758424.1820879</c:v>
                </c:pt>
                <c:pt idx="4">
                  <c:v>618103362.24907184</c:v>
                </c:pt>
                <c:pt idx="5">
                  <c:v>1152558640.557472</c:v>
                </c:pt>
                <c:pt idx="6">
                  <c:v>1902723954.9393735</c:v>
                </c:pt>
                <c:pt idx="7">
                  <c:v>682178425.48209786</c:v>
                </c:pt>
                <c:pt idx="8">
                  <c:v>0</c:v>
                </c:pt>
                <c:pt idx="9">
                  <c:v>1394628775.9811003</c:v>
                </c:pt>
                <c:pt idx="10">
                  <c:v>243824110.45017231</c:v>
                </c:pt>
                <c:pt idx="11">
                  <c:v>0</c:v>
                </c:pt>
                <c:pt idx="12">
                  <c:v>1093334893.6212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7E-4C99-A839-E874DDB89A88}"/>
            </c:ext>
          </c:extLst>
        </c:ser>
        <c:ser>
          <c:idx val="1"/>
          <c:order val="1"/>
          <c:spPr>
            <a:solidFill>
              <a:schemeClr val="accent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2:$M$2</c:f>
              <c:numCache>
                <c:formatCode>General</c:formatCode>
                <c:ptCount val="13"/>
                <c:pt idx="0">
                  <c:v>34257560020.213341</c:v>
                </c:pt>
                <c:pt idx="1">
                  <c:v>16912685018.563747</c:v>
                </c:pt>
                <c:pt idx="2">
                  <c:v>31582528199.807632</c:v>
                </c:pt>
                <c:pt idx="3">
                  <c:v>13499811503.075142</c:v>
                </c:pt>
                <c:pt idx="4">
                  <c:v>30147239312.685604</c:v>
                </c:pt>
                <c:pt idx="5">
                  <c:v>28233494691.405186</c:v>
                </c:pt>
                <c:pt idx="6">
                  <c:v>7234221507.8490829</c:v>
                </c:pt>
                <c:pt idx="7">
                  <c:v>10811991554.970699</c:v>
                </c:pt>
                <c:pt idx="8">
                  <c:v>10868174683.956188</c:v>
                </c:pt>
                <c:pt idx="9">
                  <c:v>3788575595.1829023</c:v>
                </c:pt>
                <c:pt idx="10">
                  <c:v>7931754825.0880308</c:v>
                </c:pt>
                <c:pt idx="11">
                  <c:v>4878232369.2205219</c:v>
                </c:pt>
                <c:pt idx="12">
                  <c:v>135727270.05802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7E-4C99-A839-E874DDB89A88}"/>
            </c:ext>
          </c:extLst>
        </c:ser>
        <c:ser>
          <c:idx val="2"/>
          <c:order val="2"/>
          <c:spPr>
            <a:solidFill>
              <a:srgbClr val="FFC90D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3:$M$3</c:f>
              <c:numCache>
                <c:formatCode>General</c:formatCode>
                <c:ptCount val="13"/>
                <c:pt idx="0">
                  <c:v>47562494569.433487</c:v>
                </c:pt>
                <c:pt idx="1">
                  <c:v>17397126653.694183</c:v>
                </c:pt>
                <c:pt idx="2">
                  <c:v>14150550.510597229</c:v>
                </c:pt>
                <c:pt idx="3">
                  <c:v>0</c:v>
                </c:pt>
                <c:pt idx="4">
                  <c:v>1209979885.597271</c:v>
                </c:pt>
                <c:pt idx="5">
                  <c:v>17297000</c:v>
                </c:pt>
                <c:pt idx="6">
                  <c:v>0</c:v>
                </c:pt>
                <c:pt idx="7">
                  <c:v>9716000</c:v>
                </c:pt>
                <c:pt idx="8">
                  <c:v>0</c:v>
                </c:pt>
                <c:pt idx="9">
                  <c:v>4489045768.6251707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B7E-4C99-A839-E874DDB89A88}"/>
            </c:ext>
          </c:extLst>
        </c:ser>
        <c:ser>
          <c:idx val="3"/>
          <c:order val="3"/>
          <c:spPr>
            <a:solidFill>
              <a:srgbClr val="969696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4:$M$4</c:f>
              <c:numCache>
                <c:formatCode>General</c:formatCode>
                <c:ptCount val="13"/>
                <c:pt idx="0">
                  <c:v>11084261092.166534</c:v>
                </c:pt>
                <c:pt idx="1">
                  <c:v>16396173543.033813</c:v>
                </c:pt>
                <c:pt idx="2">
                  <c:v>2688869626.2951889</c:v>
                </c:pt>
                <c:pt idx="3">
                  <c:v>13919574951.605732</c:v>
                </c:pt>
                <c:pt idx="4">
                  <c:v>290022553.52396011</c:v>
                </c:pt>
                <c:pt idx="5">
                  <c:v>0</c:v>
                </c:pt>
                <c:pt idx="6">
                  <c:v>7616318183.7274799</c:v>
                </c:pt>
                <c:pt idx="7">
                  <c:v>187105689.82724953</c:v>
                </c:pt>
                <c:pt idx="8">
                  <c:v>8018076.5843696594</c:v>
                </c:pt>
                <c:pt idx="9">
                  <c:v>153352336.00370789</c:v>
                </c:pt>
                <c:pt idx="10">
                  <c:v>0</c:v>
                </c:pt>
                <c:pt idx="11">
                  <c:v>0</c:v>
                </c:pt>
                <c:pt idx="12">
                  <c:v>276721225.360006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7E-4C99-A839-E874DDB89A88}"/>
            </c:ext>
          </c:extLst>
        </c:ser>
        <c:ser>
          <c:idx val="4"/>
          <c:order val="4"/>
          <c:spPr>
            <a:solidFill>
              <a:schemeClr val="tx2"/>
            </a:solidFill>
            <a:ln w="19050" algn="ctr">
              <a:solidFill>
                <a:schemeClr val="bg1"/>
              </a:solidFill>
              <a:prstDash val="solid"/>
            </a:ln>
          </c:spPr>
          <c:invertIfNegative val="0"/>
          <c:val>
            <c:numRef>
              <c:f>Sheet1!$A$5:$M$5</c:f>
              <c:numCache>
                <c:formatCode>General</c:formatCode>
                <c:ptCount val="13"/>
                <c:pt idx="0">
                  <c:v>2469364685.4866333</c:v>
                </c:pt>
                <c:pt idx="1">
                  <c:v>0</c:v>
                </c:pt>
                <c:pt idx="2">
                  <c:v>9700482205.8048401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301602565.71118164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7E-4C99-A839-E874DDB89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487294607"/>
        <c:axId val="1"/>
      </c:barChart>
      <c:catAx>
        <c:axId val="1487294607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7767959027.7976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487294607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5967859751643538E-3"/>
          <c:y val="2.1320213202132021E-2"/>
          <c:w val="0.98480642804967133"/>
          <c:h val="0.9573595735957359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90D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841E-4E6C-9648-B0FF3239949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41E-4E6C-9648-B0FF32399493}"/>
              </c:ext>
            </c:extLst>
          </c:dPt>
          <c:dPt>
            <c:idx val="2"/>
            <c:invertIfNegative val="0"/>
            <c:bubble3D val="0"/>
            <c:spPr>
              <a:solidFill>
                <a:srgbClr val="96969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841E-4E6C-9648-B0FF32399493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41E-4E6C-9648-B0FF32399493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774599510620.00024</c:v>
                </c:pt>
                <c:pt idx="1">
                  <c:v>497365751342.66681</c:v>
                </c:pt>
                <c:pt idx="2">
                  <c:v>84591782235.27211</c:v>
                </c:pt>
                <c:pt idx="3">
                  <c:v>236293649504.25851</c:v>
                </c:pt>
                <c:pt idx="4">
                  <c:v>66339805438.6968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41E-4E6C-9648-B0FF32399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10825680"/>
        <c:axId val="1"/>
      </c:barChart>
      <c:lineChart>
        <c:grouping val="standard"/>
        <c:varyColors val="0"/>
        <c:ser>
          <c:idx val="1"/>
          <c:order val="1"/>
          <c:spPr>
            <a:ln>
              <a:noFill/>
            </a:ln>
          </c:spPr>
          <c:marker>
            <c:symbol val="none"/>
          </c:marker>
          <c:dPt>
            <c:idx val="0"/>
            <c:marker>
              <c:symbol val="dash"/>
              <c:size val="2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841E-4E6C-9648-B0FF32399493}"/>
              </c:ext>
            </c:extLst>
          </c:dPt>
          <c:dPt>
            <c:idx val="1"/>
            <c:marker>
              <c:symbol val="dash"/>
              <c:size val="2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841E-4E6C-9648-B0FF32399493}"/>
              </c:ext>
            </c:extLst>
          </c:dPt>
          <c:dPt>
            <c:idx val="2"/>
            <c:marker>
              <c:symbol val="dash"/>
              <c:size val="2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841E-4E6C-9648-B0FF32399493}"/>
              </c:ext>
            </c:extLst>
          </c:dPt>
          <c:dPt>
            <c:idx val="3"/>
            <c:marker>
              <c:symbol val="dash"/>
              <c:size val="2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841E-4E6C-9648-B0FF32399493}"/>
              </c:ext>
            </c:extLst>
          </c:dPt>
          <c:dPt>
            <c:idx val="4"/>
            <c:marker>
              <c:symbol val="dash"/>
              <c:size val="2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841E-4E6C-9648-B0FF32399493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219234752066</c:v>
                </c:pt>
                <c:pt idx="1">
                  <c:v>209608001717</c:v>
                </c:pt>
                <c:pt idx="2">
                  <c:v>128989162924</c:v>
                </c:pt>
                <c:pt idx="3">
                  <c:v>153163726443</c:v>
                </c:pt>
                <c:pt idx="4">
                  <c:v>806221009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A-841E-4E6C-9648-B0FF32399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10825680"/>
        <c:axId val="1"/>
      </c:lineChart>
      <c:catAx>
        <c:axId val="71082568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0000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400" kern="1200">
                <a:latin typeface="Arial"/>
                <a:ea typeface="+mn-ea"/>
                <a:cs typeface="+mn-cs"/>
              </a:defRPr>
            </a:pPr>
            <a:endParaRPr lang="fr-FR"/>
          </a:p>
        </c:txPr>
        <c:crossAx val="710825680"/>
        <c:crosses val="min"/>
        <c:crossBetween val="between"/>
        <c:majorUnit val="10000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668769716088329"/>
          <c:y val="1.9526849417949681E-2"/>
          <c:w val="0.50662460567823342"/>
          <c:h val="0.960946301164100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0B3D7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.23565069970907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39-4B10-A662-D1F475EFF281}"/>
            </c:ext>
          </c:extLst>
        </c:ser>
        <c:ser>
          <c:idx val="1"/>
          <c:order val="1"/>
          <c:spPr>
            <a:solidFill>
              <a:schemeClr val="tx2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.01510978867139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39-4B10-A662-D1F475EFF281}"/>
            </c:ext>
          </c:extLst>
        </c:ser>
        <c:ser>
          <c:idx val="2"/>
          <c:order val="2"/>
          <c:spPr>
            <a:solidFill>
              <a:srgbClr val="FFC90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0.11482649842271293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4.17869983610794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B39-4B10-A662-D1F475EFF281}"/>
            </c:ext>
          </c:extLst>
        </c:ser>
        <c:ser>
          <c:idx val="3"/>
          <c:order val="3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4.50403188233008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B39-4B10-A662-D1F475EFF281}"/>
            </c:ext>
          </c:extLst>
        </c:ser>
        <c:ser>
          <c:idx val="4"/>
          <c:order val="4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5.7475689369092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B39-4B10-A662-D1F475EFF281}"/>
            </c:ext>
          </c:extLst>
        </c:ser>
        <c:ser>
          <c:idx val="5"/>
          <c:order val="5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6.01616722089915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B39-4B10-A662-D1F475EFF281}"/>
            </c:ext>
          </c:extLst>
        </c:ser>
        <c:ser>
          <c:idx val="6"/>
          <c:order val="6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9.98018646056388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B39-4B10-A662-D1F475EFF281}"/>
            </c:ext>
          </c:extLst>
        </c:ser>
        <c:ser>
          <c:idx val="7"/>
          <c:order val="7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16.551177734035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5B39-4B10-A662-D1F475EFF281}"/>
            </c:ext>
          </c:extLst>
        </c:ser>
        <c:ser>
          <c:idx val="8"/>
          <c:order val="8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</c:f>
              <c:numCache>
                <c:formatCode>General</c:formatCode>
                <c:ptCount val="1"/>
                <c:pt idx="0">
                  <c:v>23.893815563672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5B39-4B10-A662-D1F475EFF281}"/>
            </c:ext>
          </c:extLst>
        </c:ser>
        <c:ser>
          <c:idx val="9"/>
          <c:order val="9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5B39-4B10-A662-D1F475EFF28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</c:f>
              <c:numCache>
                <c:formatCode>General</c:formatCode>
                <c:ptCount val="1"/>
                <c:pt idx="0">
                  <c:v>24.8775918771009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5B39-4B10-A662-D1F475EFF2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10047104"/>
        <c:axId val="1"/>
      </c:barChart>
      <c:catAx>
        <c:axId val="110047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047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668769716088329"/>
          <c:y val="1.9526849417949681E-2"/>
          <c:w val="0.50662460567823342"/>
          <c:h val="0.960946301164100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0B3D7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.27507005469714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3D-4AD0-8ECC-269527389AA7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1545741324921135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4.9333452767240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3D-4AD0-8ECC-269527389AA7}"/>
            </c:ext>
          </c:extLst>
        </c:ser>
        <c:ser>
          <c:idx val="2"/>
          <c:order val="2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6.0190353949167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3D-4AD0-8ECC-269527389AA7}"/>
            </c:ext>
          </c:extLst>
        </c:ser>
        <c:ser>
          <c:idx val="3"/>
          <c:order val="3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6.04450516506398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E3D-4AD0-8ECC-269527389AA7}"/>
            </c:ext>
          </c:extLst>
        </c:ser>
        <c:ser>
          <c:idx val="4"/>
          <c:order val="4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6.0843408693425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E3D-4AD0-8ECC-269527389AA7}"/>
            </c:ext>
          </c:extLst>
        </c:ser>
        <c:ser>
          <c:idx val="5"/>
          <c:order val="5"/>
          <c:spPr>
            <a:solidFill>
              <a:srgbClr val="FFC90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8.64877120768908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E3D-4AD0-8ECC-269527389AA7}"/>
            </c:ext>
          </c:extLst>
        </c:ser>
        <c:ser>
          <c:idx val="6"/>
          <c:order val="6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11.4716143834173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E3D-4AD0-8ECC-269527389AA7}"/>
            </c:ext>
          </c:extLst>
        </c:ser>
        <c:ser>
          <c:idx val="7"/>
          <c:order val="7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15.1198585873025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E3D-4AD0-8ECC-269527389AA7}"/>
            </c:ext>
          </c:extLst>
        </c:ser>
        <c:ser>
          <c:idx val="8"/>
          <c:order val="8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</c:f>
              <c:numCache>
                <c:formatCode>General</c:formatCode>
                <c:ptCount val="1"/>
                <c:pt idx="0">
                  <c:v>16.983192436390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E3D-4AD0-8ECC-269527389AA7}"/>
            </c:ext>
          </c:extLst>
        </c:ser>
        <c:ser>
          <c:idx val="9"/>
          <c:order val="9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E3D-4AD0-8ECC-269527389AA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</c:f>
              <c:numCache>
                <c:formatCode>General</c:formatCode>
                <c:ptCount val="1"/>
                <c:pt idx="0">
                  <c:v>23.4202666244563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E3D-4AD0-8ECC-269527389A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336814816"/>
        <c:axId val="1"/>
      </c:barChart>
      <c:catAx>
        <c:axId val="13368148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68148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668769716088329"/>
          <c:y val="1.9526849417949681E-2"/>
          <c:w val="0.50662460567823342"/>
          <c:h val="0.960946301164100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CFE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0031545741324922"/>
                  <c:y val="-2.027788208787082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918-415B-9A96-27467A16CE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.14225671354020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918-415B-9A96-27467A16CEC4}"/>
            </c:ext>
          </c:extLst>
        </c:ser>
        <c:ser>
          <c:idx val="1"/>
          <c:order val="1"/>
          <c:spPr>
            <a:solidFill>
              <a:srgbClr val="007770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1.37556066282929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918-415B-9A96-27467A16CEC4}"/>
            </c:ext>
          </c:extLst>
        </c:ser>
        <c:ser>
          <c:idx val="2"/>
          <c:order val="2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.95557885508851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918-415B-9A96-27467A16CEC4}"/>
            </c:ext>
          </c:extLst>
        </c:ser>
        <c:ser>
          <c:idx val="3"/>
          <c:order val="3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3.40544042525751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18-415B-9A96-27467A16CEC4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1545741324921135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E918-415B-9A96-27467A16CE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4.23085381337595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918-415B-9A96-27467A16CEC4}"/>
            </c:ext>
          </c:extLst>
        </c:ser>
        <c:ser>
          <c:idx val="5"/>
          <c:order val="5"/>
          <c:spPr>
            <a:solidFill>
              <a:srgbClr val="FFC90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E918-415B-9A96-27467A16CE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10.965201490511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918-415B-9A96-27467A16CEC4}"/>
            </c:ext>
          </c:extLst>
        </c:ser>
        <c:ser>
          <c:idx val="6"/>
          <c:order val="6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E918-415B-9A96-27467A16CE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10.9925936067229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918-415B-9A96-27467A16CEC4}"/>
            </c:ext>
          </c:extLst>
        </c:ser>
        <c:ser>
          <c:idx val="7"/>
          <c:order val="7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E918-415B-9A96-27467A16CE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17.6574752706071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E918-415B-9A96-27467A16CEC4}"/>
            </c:ext>
          </c:extLst>
        </c:ser>
        <c:ser>
          <c:idx val="8"/>
          <c:order val="8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E918-415B-9A96-27467A16CE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</c:f>
              <c:numCache>
                <c:formatCode>General</c:formatCode>
                <c:ptCount val="1"/>
                <c:pt idx="0">
                  <c:v>20.3113505358559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E918-415B-9A96-27467A16CEC4}"/>
            </c:ext>
          </c:extLst>
        </c:ser>
        <c:ser>
          <c:idx val="9"/>
          <c:order val="9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E918-415B-9A96-27467A16CEC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</c:f>
              <c:numCache>
                <c:formatCode>General</c:formatCode>
                <c:ptCount val="1"/>
                <c:pt idx="0">
                  <c:v>26.963688626210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918-415B-9A96-27467A16CEC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976161888"/>
        <c:axId val="1"/>
      </c:barChart>
      <c:catAx>
        <c:axId val="1976161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76161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668769716088329"/>
          <c:y val="1.9526849417949681E-2"/>
          <c:w val="0.50662460567823342"/>
          <c:h val="0.960946301164100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0031545741324922"/>
                  <c:y val="-2.0277882087870822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.16794866712146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DCD-496D-B047-38BC9ABFDA07}"/>
            </c:ext>
          </c:extLst>
        </c:ser>
        <c:ser>
          <c:idx val="1"/>
          <c:order val="1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2.22504503035472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CD-496D-B047-38BC9ABFDA07}"/>
            </c:ext>
          </c:extLst>
        </c:ser>
        <c:ser>
          <c:idx val="2"/>
          <c:order val="2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3.14500431676042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DCD-496D-B047-38BC9ABFDA07}"/>
            </c:ext>
          </c:extLst>
        </c:ser>
        <c:ser>
          <c:idx val="3"/>
          <c:order val="3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0.11482649842271293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</c:f>
              <c:numCache>
                <c:formatCode>General</c:formatCode>
                <c:ptCount val="1"/>
                <c:pt idx="0">
                  <c:v>4.7386205224043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DCD-496D-B047-38BC9ABFDA07}"/>
            </c:ext>
          </c:extLst>
        </c:ser>
        <c:ser>
          <c:idx val="4"/>
          <c:order val="4"/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</c:f>
              <c:numCache>
                <c:formatCode>General</c:formatCode>
                <c:ptCount val="1"/>
                <c:pt idx="0">
                  <c:v>4.77487247952936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DCD-496D-B047-38BC9ABFDA07}"/>
            </c:ext>
          </c:extLst>
        </c:ser>
        <c:ser>
          <c:idx val="5"/>
          <c:order val="5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8.2917716125358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DCD-496D-B047-38BC9ABFDA07}"/>
            </c:ext>
          </c:extLst>
        </c:ser>
        <c:ser>
          <c:idx val="6"/>
          <c:order val="6"/>
          <c:spPr>
            <a:solidFill>
              <a:srgbClr val="FFC90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8.73539310248400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DCD-496D-B047-38BC9ABFDA07}"/>
            </c:ext>
          </c:extLst>
        </c:ser>
        <c:ser>
          <c:idx val="7"/>
          <c:order val="7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9.93617862032201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DCD-496D-B047-38BC9ABFDA07}"/>
            </c:ext>
          </c:extLst>
        </c:ser>
        <c:ser>
          <c:idx val="8"/>
          <c:order val="8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</c:f>
              <c:numCache>
                <c:formatCode>General</c:formatCode>
                <c:ptCount val="1"/>
                <c:pt idx="0">
                  <c:v>23.9756312902684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2DCD-496D-B047-38BC9ABFDA07}"/>
            </c:ext>
          </c:extLst>
        </c:ser>
        <c:ser>
          <c:idx val="9"/>
          <c:order val="9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2DCD-496D-B047-38BC9ABFDA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</c:f>
              <c:numCache>
                <c:formatCode>General</c:formatCode>
                <c:ptCount val="1"/>
                <c:pt idx="0">
                  <c:v>32.0095343582193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2DCD-496D-B047-38BC9ABFDA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19632336"/>
        <c:axId val="1"/>
      </c:barChart>
      <c:catAx>
        <c:axId val="119632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9.99999999999997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9632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4668769716088329"/>
          <c:y val="1.9526849417949681E-2"/>
          <c:w val="0.50662460567823342"/>
          <c:h val="0.9609463011641006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0.979602364641313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BA-42C3-A24E-54FACAF7D3BD}"/>
            </c:ext>
          </c:extLst>
        </c:ser>
        <c:ser>
          <c:idx val="1"/>
          <c:order val="1"/>
          <c:spPr>
            <a:solidFill>
              <a:srgbClr val="00777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-0.30031545741324922"/>
                  <c:y val="-1.652271873826511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9BA-42C3-A24E-54FACAF7D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General</c:formatCode>
                <c:ptCount val="1"/>
                <c:pt idx="0">
                  <c:v>1.0616168409356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BA-42C3-A24E-54FACAF7D3BD}"/>
            </c:ext>
          </c:extLst>
        </c:ser>
        <c:ser>
          <c:idx val="2"/>
          <c:order val="2"/>
          <c:spPr>
            <a:solidFill>
              <a:srgbClr val="BF9000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1.46019958983907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9BA-42C3-A24E-54FACAF7D3BD}"/>
            </c:ext>
          </c:extLst>
        </c:ser>
        <c:ser>
          <c:idx val="3"/>
          <c:order val="3"/>
          <c:spPr>
            <a:solidFill>
              <a:srgbClr val="C3CFE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.535213475516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9BA-42C3-A24E-54FACAF7D3BD}"/>
            </c:ext>
          </c:extLst>
        </c:ser>
        <c:ser>
          <c:idx val="4"/>
          <c:order val="4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3.67582223447009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9BA-42C3-A24E-54FACAF7D3BD}"/>
            </c:ext>
          </c:extLst>
        </c:ser>
        <c:ser>
          <c:idx val="5"/>
          <c:order val="5"/>
          <c:spPr>
            <a:solidFill>
              <a:srgbClr val="FFC90D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3.7551633496057078E-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9BA-42C3-A24E-54FACAF7D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</c:f>
              <c:numCache>
                <c:formatCode>General</c:formatCode>
                <c:ptCount val="1"/>
                <c:pt idx="0">
                  <c:v>9.0568409928898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9BA-42C3-A24E-54FACAF7D3BD}"/>
            </c:ext>
          </c:extLst>
        </c:ser>
        <c:ser>
          <c:idx val="6"/>
          <c:order val="6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9BA-42C3-A24E-54FACAF7D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</c:f>
              <c:numCache>
                <c:formatCode>General</c:formatCode>
                <c:ptCount val="1"/>
                <c:pt idx="0">
                  <c:v>9.37779031418909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9BA-42C3-A24E-54FACAF7D3BD}"/>
            </c:ext>
          </c:extLst>
        </c:ser>
        <c:ser>
          <c:idx val="7"/>
          <c:order val="7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9BA-42C3-A24E-54FACAF7D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8</c:f>
              <c:numCache>
                <c:formatCode>General</c:formatCode>
                <c:ptCount val="1"/>
                <c:pt idx="0">
                  <c:v>12.844728867945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9BA-42C3-A24E-54FACAF7D3BD}"/>
            </c:ext>
          </c:extLst>
        </c:ser>
        <c:ser>
          <c:idx val="8"/>
          <c:order val="8"/>
          <c:spPr>
            <a:solidFill>
              <a:schemeClr val="accent3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tx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9BA-42C3-A24E-54FACAF7D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9</c:f>
              <c:numCache>
                <c:formatCode>General</c:formatCode>
                <c:ptCount val="1"/>
                <c:pt idx="0">
                  <c:v>19.942654900335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99BA-42C3-A24E-54FACAF7D3BD}"/>
            </c:ext>
          </c:extLst>
        </c:ser>
        <c:ser>
          <c:idx val="9"/>
          <c:order val="9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 kern="1200">
                      <a:solidFill>
                        <a:schemeClr val="bg1"/>
                      </a:solidFill>
                      <a:latin typeface="Arial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9BA-42C3-A24E-54FACAF7D3B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0</c:f>
              <c:numCache>
                <c:formatCode>General</c:formatCode>
                <c:ptCount val="1"/>
                <c:pt idx="0">
                  <c:v>39.065530419237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9BA-42C3-A24E-54FACAF7D3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1970106160"/>
        <c:axId val="1"/>
      </c:barChart>
      <c:catAx>
        <c:axId val="19701061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701061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63288E-3148-4918-B7F0-B77B91732594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B6FDA7-4259-42B5-AFA7-ED424FDB6E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303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59843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77402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6715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2B291-B12D-40C0-B1E8-CA2780A6DB3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14662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7592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8379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38645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9940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224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18263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1629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D2B291-B12D-40C0-B1E8-CA2780A6DB3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62973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61127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27884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370042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93403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07416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48141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146726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06583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714489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37623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8771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B6FDA7-4259-42B5-AFA7-ED424FDB6E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82272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9540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8B6FDA7-4259-42B5-AFA7-ED424FDB6EB5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2406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12192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 algn="ctr">
              <a:buNone/>
              <a:defRPr sz="18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800"/>
            </a:lvl4pPr>
            <a:lvl5pPr marL="1828754" indent="0" algn="ctr">
              <a:buNone/>
              <a:defRPr sz="1800"/>
            </a:lvl5pPr>
            <a:lvl6pPr marL="2285943" indent="0" algn="ctr">
              <a:buNone/>
              <a:defRPr sz="1800"/>
            </a:lvl6pPr>
            <a:lvl7pPr marL="2743131" indent="0" algn="ctr">
              <a:buNone/>
              <a:defRPr sz="1800"/>
            </a:lvl7pPr>
            <a:lvl8pPr marL="3200320" indent="0" algn="ctr">
              <a:buNone/>
              <a:defRPr sz="1800"/>
            </a:lvl8pPr>
            <a:lvl9pPr marL="3657509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87218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588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46485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>
            <a:spLocks noChangeArrowheads="1"/>
          </p:cNvSpPr>
          <p:nvPr userDrawn="1"/>
        </p:nvSpPr>
        <p:spPr bwMode="gray">
          <a:xfrm>
            <a:off x="0" y="0"/>
            <a:ext cx="12192000" cy="10668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231775"/>
            <a:endParaRPr lang="en-US" sz="24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7022D8-EA3A-45CA-8226-64C8309868C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47200" y="6492876"/>
            <a:ext cx="2844800" cy="365125"/>
          </a:xfrm>
        </p:spPr>
        <p:txBody>
          <a:bodyPr/>
          <a:lstStyle/>
          <a:p>
            <a:fld id="{AEE9E37A-4EAF-44F7-BC9F-FB713F1B08B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1" y="44450"/>
            <a:ext cx="11988871" cy="977900"/>
          </a:xfrm>
        </p:spPr>
        <p:txBody>
          <a:bodyPr>
            <a:noAutofit/>
          </a:bodyPr>
          <a:lstStyle>
            <a:lvl1pPr>
              <a:defRPr sz="2800" baseline="0">
                <a:solidFill>
                  <a:schemeClr val="bg1"/>
                </a:solidFill>
              </a:defRPr>
            </a:lvl1pPr>
          </a:lstStyle>
          <a:p>
            <a:pPr algn="l"/>
            <a:r>
              <a:rPr lang="en-US" sz="3200" dirty="0">
                <a:solidFill>
                  <a:schemeClr val="bg1"/>
                </a:solidFill>
              </a:rPr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9914197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57928"/>
            <a:ext cx="1828800" cy="600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8828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ingle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" y="1060704"/>
            <a:ext cx="11887200" cy="516636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27932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double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" y="1060704"/>
            <a:ext cx="5831840" cy="5166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146802" y="1057275"/>
            <a:ext cx="58293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66644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 rot="5400000">
            <a:off x="8345932" y="490538"/>
            <a:ext cx="9906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" y="1060704"/>
            <a:ext cx="11887200" cy="5166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0" y="137160"/>
            <a:ext cx="8737600" cy="8503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88269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203200" y="1143000"/>
            <a:ext cx="11785600" cy="50292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552920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63425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A8DEE1-03A4-4188-A66D-8DA1CC2E12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679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6822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3695A0-7AC7-4EB9-9D0F-BA6F6FB541E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8541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12192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 algn="ctr">
              <a:buNone/>
              <a:defRPr sz="18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800"/>
            </a:lvl4pPr>
            <a:lvl5pPr marL="1828754" indent="0" algn="ctr">
              <a:buNone/>
              <a:defRPr sz="1800"/>
            </a:lvl5pPr>
            <a:lvl6pPr marL="2285943" indent="0" algn="ctr">
              <a:buNone/>
              <a:defRPr sz="1800"/>
            </a:lvl6pPr>
            <a:lvl7pPr marL="2743131" indent="0" algn="ctr">
              <a:buNone/>
              <a:defRPr sz="1800"/>
            </a:lvl7pPr>
            <a:lvl8pPr marL="3200320" indent="0" algn="ctr">
              <a:buNone/>
              <a:defRPr sz="1800"/>
            </a:lvl8pPr>
            <a:lvl9pPr marL="3657509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639435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24131" y="6470704"/>
            <a:ext cx="2154143" cy="274320"/>
          </a:xfrm>
          <a:prstGeom prst="rect">
            <a:avLst/>
          </a:prstGeom>
        </p:spPr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42933" y="6470704"/>
            <a:ext cx="5901459" cy="27432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00938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257928"/>
            <a:ext cx="1828800" cy="600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662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ingle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" y="1060704"/>
            <a:ext cx="11887200" cy="5166360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174582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double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" y="1060704"/>
            <a:ext cx="5831840" cy="5166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146802" y="1057275"/>
            <a:ext cx="5829300" cy="5181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59663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c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/>
        </p:nvCxnSpPr>
        <p:spPr>
          <a:xfrm rot="5400000">
            <a:off x="8345932" y="490538"/>
            <a:ext cx="9906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0960" y="1060704"/>
            <a:ext cx="11887200" cy="5166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0" y="137160"/>
            <a:ext cx="8737600" cy="8503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5374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203200" y="1143000"/>
            <a:ext cx="11785600" cy="5029200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962458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359460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A8DEE1-03A4-4188-A66D-8DA1CC2E12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556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12192000" cy="45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21248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3695A0-7AC7-4EB9-9D0F-BA6F6FB541E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1402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1"/>
            <a:ext cx="12192000" cy="4572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 algn="ctr">
              <a:buNone/>
              <a:defRPr sz="18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800"/>
            </a:lvl4pPr>
            <a:lvl5pPr marL="1828754" indent="0" algn="ctr">
              <a:buNone/>
              <a:defRPr sz="1800"/>
            </a:lvl5pPr>
            <a:lvl6pPr marL="2285943" indent="0" algn="ctr">
              <a:buNone/>
              <a:defRPr sz="1800"/>
            </a:lvl6pPr>
            <a:lvl7pPr marL="2743131" indent="0" algn="ctr">
              <a:buNone/>
              <a:defRPr sz="1800"/>
            </a:lvl7pPr>
            <a:lvl8pPr marL="3200320" indent="0" algn="ctr">
              <a:buNone/>
              <a:defRPr sz="1800"/>
            </a:lvl8pPr>
            <a:lvl9pPr marL="3657509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92214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0D0A6-7C75-4818-B114-7B0BEB7CC93A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1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BE467-4633-4304-BE1A-416E7C0E39F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014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8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350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2">
                    <a:lumMod val="75000"/>
                  </a:schemeClr>
                </a:solidFill>
                <a:latin typeface="+mn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 lIns="45720" rIns="4572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89320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89320" y="2967788"/>
            <a:ext cx="4754880" cy="3341572"/>
          </a:xfrm>
        </p:spPr>
        <p:txBody>
          <a:bodyPr lIns="45720" rIns="4572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656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262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5435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9539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2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9512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vmlDrawing" Target="../drawings/vmlDrawing2.v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vmlDrawing" Target="../drawings/vmlDrawing3.v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D100AE5-C2ED-4285-9441-98479157E3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855954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56557B-254F-4599-A34B-C3927DF6B9B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000" b="0" i="0" baseline="0" dirty="0">
              <a:latin typeface="Tw Cen MT Condensed" panose="020B0606020104020203" pitchFamily="34" charset="0"/>
              <a:ea typeface="+mj-ea"/>
              <a:cs typeface="+mj-cs"/>
              <a:sym typeface="Tw Cen MT Condensed" panose="020B06060201040202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30" y="2286000"/>
            <a:ext cx="9720071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4A6595D9-3AB5-4F45-A0DD-D6021696A1DE}" type="datetimeFigureOut">
              <a:rPr lang="en-US" smtClean="0"/>
              <a:t>7/19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0000"/>
                    <a:lumOff val="10000"/>
                  </a:schemeClr>
                </a:solidFill>
                <a:latin typeface="+mj-lt"/>
              </a:defRPr>
            </a:lvl1pPr>
          </a:lstStyle>
          <a:p>
            <a:fld id="{BCE2313D-1EA5-498E-BA98-BDF8845A603B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4506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96" r:id="rId12"/>
  </p:sldLayoutIdLst>
  <p:txStyles>
    <p:titleStyle>
      <a:lvl1pPr algn="l" defTabSz="914377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0000"/>
              <a:lumOff val="10000"/>
            </a:schemeClr>
          </a:solidFill>
          <a:latin typeface="+mj-lt"/>
          <a:ea typeface="+mj-ea"/>
          <a:cs typeface="+mj-cs"/>
        </a:defRPr>
      </a:lvl1pPr>
    </p:titleStyle>
    <p:bodyStyle>
      <a:lvl1pPr marL="91438" indent="-91438" algn="l" defTabSz="914377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2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69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45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45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21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377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677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22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22" indent="-137157" algn="l" defTabSz="914377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2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CB885B-16BD-459F-8D41-D56259A54F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54252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26A7FD-D689-4A0A-8CC7-063BC0D623B2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1"/>
            <a:ext cx="12192000" cy="980199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231769"/>
            <a:endParaRPr lang="en-US" sz="24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472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A8DEE1-03A4-4188-A66D-8DA1CC2E12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0" y="980199"/>
            <a:ext cx="12192000" cy="1588"/>
          </a:xfrm>
          <a:prstGeom prst="line">
            <a:avLst/>
          </a:prstGeom>
          <a:solidFill>
            <a:schemeClr val="folHlink"/>
          </a:solidFill>
          <a:ln w="9525" cap="flat" cmpd="sng" algn="ctr">
            <a:solidFill>
              <a:srgbClr val="5A5B5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0" y="137160"/>
            <a:ext cx="11887200" cy="850392"/>
          </a:xfrm>
          <a:prstGeom prst="rect">
            <a:avLst/>
          </a:prstGeom>
        </p:spPr>
        <p:txBody>
          <a:bodyPr vert="horz" lIns="137160" tIns="45720" rIns="13716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idx="1"/>
          </p:nvPr>
        </p:nvSpPr>
        <p:spPr>
          <a:xfrm>
            <a:off x="60960" y="1060704"/>
            <a:ext cx="11887200" cy="5166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4231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7" r:id="rId10"/>
  </p:sldLayoutIdLst>
  <p:txStyles>
    <p:titleStyle>
      <a:lvl1pPr algn="l" defTabSz="914377" rtl="0" eaLnBrk="1" latinLnBrk="0" hangingPunct="1">
        <a:spcBef>
          <a:spcPct val="0"/>
        </a:spcBef>
        <a:buNone/>
        <a:defRPr sz="22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CB885B-16BD-459F-8D41-D56259A54F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16919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5" imgW="470" imgH="469" progId="TCLayout.ActiveDocument.1">
                  <p:embed/>
                </p:oleObj>
              </mc:Choice>
              <mc:Fallback>
                <p:oleObj name="think-cell Slide" r:id="rId15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CB885B-16BD-459F-8D41-D56259A54F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C26A7FD-D689-4A0A-8CC7-063BC0D623B2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1"/>
            <a:ext cx="12192000" cy="980199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marL="231769"/>
            <a:endParaRPr lang="en-US" sz="2400" dirty="0">
              <a:solidFill>
                <a:prstClr val="white"/>
              </a:solidFill>
              <a:cs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472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A8DEE1-03A4-4188-A66D-8DA1CC2E1298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0" y="980199"/>
            <a:ext cx="12192000" cy="1588"/>
          </a:xfrm>
          <a:prstGeom prst="line">
            <a:avLst/>
          </a:prstGeom>
          <a:solidFill>
            <a:schemeClr val="folHlink"/>
          </a:solidFill>
          <a:ln w="9525" cap="flat" cmpd="sng" algn="ctr">
            <a:solidFill>
              <a:srgbClr val="5A5B5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itle Placeholder 11"/>
          <p:cNvSpPr>
            <a:spLocks noGrp="1"/>
          </p:cNvSpPr>
          <p:nvPr>
            <p:ph type="title"/>
          </p:nvPr>
        </p:nvSpPr>
        <p:spPr>
          <a:xfrm>
            <a:off x="0" y="137160"/>
            <a:ext cx="11887200" cy="850392"/>
          </a:xfrm>
          <a:prstGeom prst="rect">
            <a:avLst/>
          </a:prstGeom>
        </p:spPr>
        <p:txBody>
          <a:bodyPr vert="horz" lIns="137160" tIns="45720" rIns="137160" bIns="4572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idx="1"/>
          </p:nvPr>
        </p:nvSpPr>
        <p:spPr>
          <a:xfrm>
            <a:off x="60960" y="1060704"/>
            <a:ext cx="11887200" cy="51663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67626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9" r:id="rId10"/>
  </p:sldLayoutIdLst>
  <p:txStyles>
    <p:titleStyle>
      <a:lvl1pPr algn="l" defTabSz="914377" rtl="0" eaLnBrk="1" latinLnBrk="0" hangingPunct="1">
        <a:spcBef>
          <a:spcPct val="0"/>
        </a:spcBef>
        <a:buNone/>
        <a:defRPr sz="2200" b="1" kern="1200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svg"/><Relationship Id="rId18" Type="http://schemas.openxmlformats.org/officeDocument/2006/relationships/image" Target="../media/image31.png"/><Relationship Id="rId3" Type="http://schemas.openxmlformats.org/officeDocument/2006/relationships/tags" Target="../tags/tag24.xml"/><Relationship Id="rId7" Type="http://schemas.openxmlformats.org/officeDocument/2006/relationships/image" Target="../media/image3.emf"/><Relationship Id="rId12" Type="http://schemas.openxmlformats.org/officeDocument/2006/relationships/image" Target="../media/image25.png"/><Relationship Id="rId17" Type="http://schemas.openxmlformats.org/officeDocument/2006/relationships/image" Target="../media/image30.svg"/><Relationship Id="rId2" Type="http://schemas.openxmlformats.org/officeDocument/2006/relationships/tags" Target="../tags/tag23.xml"/><Relationship Id="rId16" Type="http://schemas.openxmlformats.org/officeDocument/2006/relationships/image" Target="../media/image29.png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4.svg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28.svg"/><Relationship Id="rId10" Type="http://schemas.openxmlformats.org/officeDocument/2006/relationships/image" Target="../media/image23.png"/><Relationship Id="rId19" Type="http://schemas.openxmlformats.org/officeDocument/2006/relationships/image" Target="../media/image32.sv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2.svg"/><Relationship Id="rId14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3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image" Target="../media/image3.emf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29.xml"/><Relationship Id="rId16" Type="http://schemas.openxmlformats.org/officeDocument/2006/relationships/notesSlide" Target="../notesSlides/notesSlide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slideLayout" Target="../slideLayouts/slideLayout20.xml"/><Relationship Id="rId10" Type="http://schemas.openxmlformats.org/officeDocument/2006/relationships/tags" Target="../tags/tag37.xml"/><Relationship Id="rId19" Type="http://schemas.openxmlformats.org/officeDocument/2006/relationships/chart" Target="../charts/chart2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66.xml"/><Relationship Id="rId21" Type="http://schemas.openxmlformats.org/officeDocument/2006/relationships/tags" Target="../tags/tag61.xml"/><Relationship Id="rId42" Type="http://schemas.openxmlformats.org/officeDocument/2006/relationships/tags" Target="../tags/tag82.xml"/><Relationship Id="rId47" Type="http://schemas.openxmlformats.org/officeDocument/2006/relationships/tags" Target="../tags/tag87.xml"/><Relationship Id="rId63" Type="http://schemas.openxmlformats.org/officeDocument/2006/relationships/tags" Target="../tags/tag103.xml"/><Relationship Id="rId68" Type="http://schemas.openxmlformats.org/officeDocument/2006/relationships/tags" Target="../tags/tag108.xml"/><Relationship Id="rId16" Type="http://schemas.openxmlformats.org/officeDocument/2006/relationships/tags" Target="../tags/tag56.xml"/><Relationship Id="rId11" Type="http://schemas.openxmlformats.org/officeDocument/2006/relationships/tags" Target="../tags/tag51.xml"/><Relationship Id="rId32" Type="http://schemas.openxmlformats.org/officeDocument/2006/relationships/tags" Target="../tags/tag72.xml"/><Relationship Id="rId37" Type="http://schemas.openxmlformats.org/officeDocument/2006/relationships/tags" Target="../tags/tag77.xml"/><Relationship Id="rId53" Type="http://schemas.openxmlformats.org/officeDocument/2006/relationships/tags" Target="../tags/tag93.xml"/><Relationship Id="rId58" Type="http://schemas.openxmlformats.org/officeDocument/2006/relationships/tags" Target="../tags/tag98.xml"/><Relationship Id="rId74" Type="http://schemas.openxmlformats.org/officeDocument/2006/relationships/tags" Target="../tags/tag114.xml"/><Relationship Id="rId79" Type="http://schemas.openxmlformats.org/officeDocument/2006/relationships/slideLayout" Target="../slideLayouts/slideLayout20.xml"/><Relationship Id="rId5" Type="http://schemas.openxmlformats.org/officeDocument/2006/relationships/tags" Target="../tags/tag45.xml"/><Relationship Id="rId61" Type="http://schemas.openxmlformats.org/officeDocument/2006/relationships/tags" Target="../tags/tag101.xml"/><Relationship Id="rId82" Type="http://schemas.openxmlformats.org/officeDocument/2006/relationships/chart" Target="../charts/chart3.xml"/><Relationship Id="rId19" Type="http://schemas.openxmlformats.org/officeDocument/2006/relationships/tags" Target="../tags/tag5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tags" Target="../tags/tag75.xml"/><Relationship Id="rId43" Type="http://schemas.openxmlformats.org/officeDocument/2006/relationships/tags" Target="../tags/tag83.xml"/><Relationship Id="rId48" Type="http://schemas.openxmlformats.org/officeDocument/2006/relationships/tags" Target="../tags/tag88.xml"/><Relationship Id="rId56" Type="http://schemas.openxmlformats.org/officeDocument/2006/relationships/tags" Target="../tags/tag96.xml"/><Relationship Id="rId64" Type="http://schemas.openxmlformats.org/officeDocument/2006/relationships/tags" Target="../tags/tag104.xml"/><Relationship Id="rId69" Type="http://schemas.openxmlformats.org/officeDocument/2006/relationships/tags" Target="../tags/tag109.xml"/><Relationship Id="rId77" Type="http://schemas.openxmlformats.org/officeDocument/2006/relationships/tags" Target="../tags/tag117.xml"/><Relationship Id="rId8" Type="http://schemas.openxmlformats.org/officeDocument/2006/relationships/tags" Target="../tags/tag48.xml"/><Relationship Id="rId51" Type="http://schemas.openxmlformats.org/officeDocument/2006/relationships/tags" Target="../tags/tag91.xml"/><Relationship Id="rId72" Type="http://schemas.openxmlformats.org/officeDocument/2006/relationships/tags" Target="../tags/tag112.xml"/><Relationship Id="rId80" Type="http://schemas.openxmlformats.org/officeDocument/2006/relationships/oleObject" Target="../embeddings/oleObject14.bin"/><Relationship Id="rId3" Type="http://schemas.openxmlformats.org/officeDocument/2006/relationships/tags" Target="../tags/tag43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tags" Target="../tags/tag73.xml"/><Relationship Id="rId38" Type="http://schemas.openxmlformats.org/officeDocument/2006/relationships/tags" Target="../tags/tag78.xml"/><Relationship Id="rId46" Type="http://schemas.openxmlformats.org/officeDocument/2006/relationships/tags" Target="../tags/tag86.xml"/><Relationship Id="rId59" Type="http://schemas.openxmlformats.org/officeDocument/2006/relationships/tags" Target="../tags/tag99.xml"/><Relationship Id="rId67" Type="http://schemas.openxmlformats.org/officeDocument/2006/relationships/tags" Target="../tags/tag107.xml"/><Relationship Id="rId20" Type="http://schemas.openxmlformats.org/officeDocument/2006/relationships/tags" Target="../tags/tag60.xml"/><Relationship Id="rId41" Type="http://schemas.openxmlformats.org/officeDocument/2006/relationships/tags" Target="../tags/tag81.xml"/><Relationship Id="rId54" Type="http://schemas.openxmlformats.org/officeDocument/2006/relationships/tags" Target="../tags/tag94.xml"/><Relationship Id="rId62" Type="http://schemas.openxmlformats.org/officeDocument/2006/relationships/tags" Target="../tags/tag102.xml"/><Relationship Id="rId70" Type="http://schemas.openxmlformats.org/officeDocument/2006/relationships/tags" Target="../tags/tag110.xml"/><Relationship Id="rId75" Type="http://schemas.openxmlformats.org/officeDocument/2006/relationships/tags" Target="../tags/tag115.xml"/><Relationship Id="rId83" Type="http://schemas.openxmlformats.org/officeDocument/2006/relationships/image" Target="../media/image33.png"/><Relationship Id="rId1" Type="http://schemas.openxmlformats.org/officeDocument/2006/relationships/vmlDrawing" Target="../drawings/vmlDrawing14.vml"/><Relationship Id="rId6" Type="http://schemas.openxmlformats.org/officeDocument/2006/relationships/tags" Target="../tags/tag46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tags" Target="../tags/tag76.xml"/><Relationship Id="rId49" Type="http://schemas.openxmlformats.org/officeDocument/2006/relationships/tags" Target="../tags/tag89.xml"/><Relationship Id="rId57" Type="http://schemas.openxmlformats.org/officeDocument/2006/relationships/tags" Target="../tags/tag97.xml"/><Relationship Id="rId10" Type="http://schemas.openxmlformats.org/officeDocument/2006/relationships/tags" Target="../tags/tag50.xml"/><Relationship Id="rId31" Type="http://schemas.openxmlformats.org/officeDocument/2006/relationships/tags" Target="../tags/tag71.xml"/><Relationship Id="rId44" Type="http://schemas.openxmlformats.org/officeDocument/2006/relationships/tags" Target="../tags/tag84.xml"/><Relationship Id="rId52" Type="http://schemas.openxmlformats.org/officeDocument/2006/relationships/tags" Target="../tags/tag92.xml"/><Relationship Id="rId60" Type="http://schemas.openxmlformats.org/officeDocument/2006/relationships/tags" Target="../tags/tag100.xml"/><Relationship Id="rId65" Type="http://schemas.openxmlformats.org/officeDocument/2006/relationships/tags" Target="../tags/tag105.xml"/><Relationship Id="rId73" Type="http://schemas.openxmlformats.org/officeDocument/2006/relationships/tags" Target="../tags/tag113.xml"/><Relationship Id="rId78" Type="http://schemas.openxmlformats.org/officeDocument/2006/relationships/tags" Target="../tags/tag118.xml"/><Relationship Id="rId81" Type="http://schemas.openxmlformats.org/officeDocument/2006/relationships/image" Target="../media/image10.emf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9" Type="http://schemas.openxmlformats.org/officeDocument/2006/relationships/tags" Target="../tags/tag79.xml"/><Relationship Id="rId34" Type="http://schemas.openxmlformats.org/officeDocument/2006/relationships/tags" Target="../tags/tag74.xml"/><Relationship Id="rId50" Type="http://schemas.openxmlformats.org/officeDocument/2006/relationships/tags" Target="../tags/tag90.xml"/><Relationship Id="rId55" Type="http://schemas.openxmlformats.org/officeDocument/2006/relationships/tags" Target="../tags/tag95.xml"/><Relationship Id="rId76" Type="http://schemas.openxmlformats.org/officeDocument/2006/relationships/tags" Target="../tags/tag116.xml"/><Relationship Id="rId7" Type="http://schemas.openxmlformats.org/officeDocument/2006/relationships/tags" Target="../tags/tag47.xml"/><Relationship Id="rId71" Type="http://schemas.openxmlformats.org/officeDocument/2006/relationships/tags" Target="../tags/tag111.xml"/><Relationship Id="rId2" Type="http://schemas.openxmlformats.org/officeDocument/2006/relationships/tags" Target="../tags/tag42.xml"/><Relationship Id="rId29" Type="http://schemas.openxmlformats.org/officeDocument/2006/relationships/tags" Target="../tags/tag69.xml"/><Relationship Id="rId24" Type="http://schemas.openxmlformats.org/officeDocument/2006/relationships/tags" Target="../tags/tag64.xml"/><Relationship Id="rId40" Type="http://schemas.openxmlformats.org/officeDocument/2006/relationships/tags" Target="../tags/tag80.xml"/><Relationship Id="rId45" Type="http://schemas.openxmlformats.org/officeDocument/2006/relationships/tags" Target="../tags/tag85.xml"/><Relationship Id="rId66" Type="http://schemas.openxmlformats.org/officeDocument/2006/relationships/tags" Target="../tags/tag106.xml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tags" Target="../tags/tag130.xml"/><Relationship Id="rId18" Type="http://schemas.openxmlformats.org/officeDocument/2006/relationships/tags" Target="../tags/tag135.xml"/><Relationship Id="rId26" Type="http://schemas.openxmlformats.org/officeDocument/2006/relationships/tags" Target="../tags/tag143.xml"/><Relationship Id="rId39" Type="http://schemas.openxmlformats.org/officeDocument/2006/relationships/tags" Target="../tags/tag156.xml"/><Relationship Id="rId21" Type="http://schemas.openxmlformats.org/officeDocument/2006/relationships/tags" Target="../tags/tag138.xml"/><Relationship Id="rId34" Type="http://schemas.openxmlformats.org/officeDocument/2006/relationships/tags" Target="../tags/tag151.xml"/><Relationship Id="rId42" Type="http://schemas.openxmlformats.org/officeDocument/2006/relationships/tags" Target="../tags/tag159.xml"/><Relationship Id="rId47" Type="http://schemas.openxmlformats.org/officeDocument/2006/relationships/notesSlide" Target="../notesSlides/notesSlide6.xml"/><Relationship Id="rId50" Type="http://schemas.openxmlformats.org/officeDocument/2006/relationships/chart" Target="../charts/chart4.xml"/><Relationship Id="rId7" Type="http://schemas.openxmlformats.org/officeDocument/2006/relationships/tags" Target="../tags/tag124.xml"/><Relationship Id="rId2" Type="http://schemas.openxmlformats.org/officeDocument/2006/relationships/tags" Target="../tags/tag119.xml"/><Relationship Id="rId16" Type="http://schemas.openxmlformats.org/officeDocument/2006/relationships/tags" Target="../tags/tag133.xml"/><Relationship Id="rId29" Type="http://schemas.openxmlformats.org/officeDocument/2006/relationships/tags" Target="../tags/tag146.xml"/><Relationship Id="rId11" Type="http://schemas.openxmlformats.org/officeDocument/2006/relationships/tags" Target="../tags/tag128.xml"/><Relationship Id="rId24" Type="http://schemas.openxmlformats.org/officeDocument/2006/relationships/tags" Target="../tags/tag141.xml"/><Relationship Id="rId32" Type="http://schemas.openxmlformats.org/officeDocument/2006/relationships/tags" Target="../tags/tag149.xml"/><Relationship Id="rId37" Type="http://schemas.openxmlformats.org/officeDocument/2006/relationships/tags" Target="../tags/tag154.xml"/><Relationship Id="rId40" Type="http://schemas.openxmlformats.org/officeDocument/2006/relationships/tags" Target="../tags/tag157.xml"/><Relationship Id="rId45" Type="http://schemas.openxmlformats.org/officeDocument/2006/relationships/tags" Target="../tags/tag162.xml"/><Relationship Id="rId5" Type="http://schemas.openxmlformats.org/officeDocument/2006/relationships/tags" Target="../tags/tag122.xml"/><Relationship Id="rId15" Type="http://schemas.openxmlformats.org/officeDocument/2006/relationships/tags" Target="../tags/tag132.xml"/><Relationship Id="rId23" Type="http://schemas.openxmlformats.org/officeDocument/2006/relationships/tags" Target="../tags/tag140.xml"/><Relationship Id="rId28" Type="http://schemas.openxmlformats.org/officeDocument/2006/relationships/tags" Target="../tags/tag145.xml"/><Relationship Id="rId36" Type="http://schemas.openxmlformats.org/officeDocument/2006/relationships/tags" Target="../tags/tag153.xml"/><Relationship Id="rId49" Type="http://schemas.openxmlformats.org/officeDocument/2006/relationships/image" Target="../media/image10.emf"/><Relationship Id="rId10" Type="http://schemas.openxmlformats.org/officeDocument/2006/relationships/tags" Target="../tags/tag127.xml"/><Relationship Id="rId19" Type="http://schemas.openxmlformats.org/officeDocument/2006/relationships/tags" Target="../tags/tag136.xml"/><Relationship Id="rId31" Type="http://schemas.openxmlformats.org/officeDocument/2006/relationships/tags" Target="../tags/tag148.xml"/><Relationship Id="rId44" Type="http://schemas.openxmlformats.org/officeDocument/2006/relationships/tags" Target="../tags/tag161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tags" Target="../tags/tag131.xml"/><Relationship Id="rId22" Type="http://schemas.openxmlformats.org/officeDocument/2006/relationships/tags" Target="../tags/tag139.xml"/><Relationship Id="rId27" Type="http://schemas.openxmlformats.org/officeDocument/2006/relationships/tags" Target="../tags/tag144.xml"/><Relationship Id="rId30" Type="http://schemas.openxmlformats.org/officeDocument/2006/relationships/tags" Target="../tags/tag147.xml"/><Relationship Id="rId35" Type="http://schemas.openxmlformats.org/officeDocument/2006/relationships/tags" Target="../tags/tag152.xml"/><Relationship Id="rId43" Type="http://schemas.openxmlformats.org/officeDocument/2006/relationships/tags" Target="../tags/tag160.xml"/><Relationship Id="rId48" Type="http://schemas.openxmlformats.org/officeDocument/2006/relationships/oleObject" Target="../embeddings/oleObject15.bin"/><Relationship Id="rId8" Type="http://schemas.openxmlformats.org/officeDocument/2006/relationships/tags" Target="../tags/tag125.xml"/><Relationship Id="rId3" Type="http://schemas.openxmlformats.org/officeDocument/2006/relationships/tags" Target="../tags/tag120.xml"/><Relationship Id="rId12" Type="http://schemas.openxmlformats.org/officeDocument/2006/relationships/tags" Target="../tags/tag129.xml"/><Relationship Id="rId17" Type="http://schemas.openxmlformats.org/officeDocument/2006/relationships/tags" Target="../tags/tag134.xml"/><Relationship Id="rId25" Type="http://schemas.openxmlformats.org/officeDocument/2006/relationships/tags" Target="../tags/tag142.xml"/><Relationship Id="rId33" Type="http://schemas.openxmlformats.org/officeDocument/2006/relationships/tags" Target="../tags/tag150.xml"/><Relationship Id="rId38" Type="http://schemas.openxmlformats.org/officeDocument/2006/relationships/tags" Target="../tags/tag155.xml"/><Relationship Id="rId46" Type="http://schemas.openxmlformats.org/officeDocument/2006/relationships/slideLayout" Target="../slideLayouts/slideLayout20.xml"/><Relationship Id="rId20" Type="http://schemas.openxmlformats.org/officeDocument/2006/relationships/tags" Target="../tags/tag137.xml"/><Relationship Id="rId41" Type="http://schemas.openxmlformats.org/officeDocument/2006/relationships/tags" Target="../tags/tag15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164.xml"/><Relationship Id="rId7" Type="http://schemas.openxmlformats.org/officeDocument/2006/relationships/image" Target="../media/image3.emf"/><Relationship Id="rId2" Type="http://schemas.openxmlformats.org/officeDocument/2006/relationships/tags" Target="../tags/tag163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189.xml"/><Relationship Id="rId21" Type="http://schemas.openxmlformats.org/officeDocument/2006/relationships/tags" Target="../tags/tag184.xml"/><Relationship Id="rId42" Type="http://schemas.openxmlformats.org/officeDocument/2006/relationships/tags" Target="../tags/tag205.xml"/><Relationship Id="rId47" Type="http://schemas.openxmlformats.org/officeDocument/2006/relationships/tags" Target="../tags/tag210.xml"/><Relationship Id="rId63" Type="http://schemas.openxmlformats.org/officeDocument/2006/relationships/slideLayout" Target="../slideLayouts/slideLayout20.xml"/><Relationship Id="rId68" Type="http://schemas.openxmlformats.org/officeDocument/2006/relationships/chart" Target="../charts/chart6.xml"/><Relationship Id="rId7" Type="http://schemas.openxmlformats.org/officeDocument/2006/relationships/tags" Target="../tags/tag170.xml"/><Relationship Id="rId71" Type="http://schemas.openxmlformats.org/officeDocument/2006/relationships/chart" Target="../charts/chart9.xml"/><Relationship Id="rId2" Type="http://schemas.openxmlformats.org/officeDocument/2006/relationships/tags" Target="../tags/tag165.xml"/><Relationship Id="rId16" Type="http://schemas.openxmlformats.org/officeDocument/2006/relationships/tags" Target="../tags/tag179.xml"/><Relationship Id="rId29" Type="http://schemas.openxmlformats.org/officeDocument/2006/relationships/tags" Target="../tags/tag192.xml"/><Relationship Id="rId11" Type="http://schemas.openxmlformats.org/officeDocument/2006/relationships/tags" Target="../tags/tag174.xml"/><Relationship Id="rId24" Type="http://schemas.openxmlformats.org/officeDocument/2006/relationships/tags" Target="../tags/tag187.xml"/><Relationship Id="rId32" Type="http://schemas.openxmlformats.org/officeDocument/2006/relationships/tags" Target="../tags/tag195.xml"/><Relationship Id="rId37" Type="http://schemas.openxmlformats.org/officeDocument/2006/relationships/tags" Target="../tags/tag200.xml"/><Relationship Id="rId40" Type="http://schemas.openxmlformats.org/officeDocument/2006/relationships/tags" Target="../tags/tag203.xml"/><Relationship Id="rId45" Type="http://schemas.openxmlformats.org/officeDocument/2006/relationships/tags" Target="../tags/tag208.xml"/><Relationship Id="rId53" Type="http://schemas.openxmlformats.org/officeDocument/2006/relationships/tags" Target="../tags/tag216.xml"/><Relationship Id="rId58" Type="http://schemas.openxmlformats.org/officeDocument/2006/relationships/tags" Target="../tags/tag221.xml"/><Relationship Id="rId66" Type="http://schemas.openxmlformats.org/officeDocument/2006/relationships/image" Target="../media/image10.emf"/><Relationship Id="rId5" Type="http://schemas.openxmlformats.org/officeDocument/2006/relationships/tags" Target="../tags/tag168.xml"/><Relationship Id="rId61" Type="http://schemas.openxmlformats.org/officeDocument/2006/relationships/tags" Target="../tags/tag224.xml"/><Relationship Id="rId19" Type="http://schemas.openxmlformats.org/officeDocument/2006/relationships/tags" Target="../tags/tag182.xml"/><Relationship Id="rId14" Type="http://schemas.openxmlformats.org/officeDocument/2006/relationships/tags" Target="../tags/tag177.xml"/><Relationship Id="rId22" Type="http://schemas.openxmlformats.org/officeDocument/2006/relationships/tags" Target="../tags/tag185.xml"/><Relationship Id="rId27" Type="http://schemas.openxmlformats.org/officeDocument/2006/relationships/tags" Target="../tags/tag190.xml"/><Relationship Id="rId30" Type="http://schemas.openxmlformats.org/officeDocument/2006/relationships/tags" Target="../tags/tag193.xml"/><Relationship Id="rId35" Type="http://schemas.openxmlformats.org/officeDocument/2006/relationships/tags" Target="../tags/tag198.xml"/><Relationship Id="rId43" Type="http://schemas.openxmlformats.org/officeDocument/2006/relationships/tags" Target="../tags/tag206.xml"/><Relationship Id="rId48" Type="http://schemas.openxmlformats.org/officeDocument/2006/relationships/tags" Target="../tags/tag211.xml"/><Relationship Id="rId56" Type="http://schemas.openxmlformats.org/officeDocument/2006/relationships/tags" Target="../tags/tag219.xml"/><Relationship Id="rId64" Type="http://schemas.openxmlformats.org/officeDocument/2006/relationships/notesSlide" Target="../notesSlides/notesSlide8.xml"/><Relationship Id="rId69" Type="http://schemas.openxmlformats.org/officeDocument/2006/relationships/chart" Target="../charts/chart7.xml"/><Relationship Id="rId8" Type="http://schemas.openxmlformats.org/officeDocument/2006/relationships/tags" Target="../tags/tag171.xml"/><Relationship Id="rId51" Type="http://schemas.openxmlformats.org/officeDocument/2006/relationships/tags" Target="../tags/tag214.xml"/><Relationship Id="rId3" Type="http://schemas.openxmlformats.org/officeDocument/2006/relationships/tags" Target="../tags/tag166.xml"/><Relationship Id="rId12" Type="http://schemas.openxmlformats.org/officeDocument/2006/relationships/tags" Target="../tags/tag175.xml"/><Relationship Id="rId17" Type="http://schemas.openxmlformats.org/officeDocument/2006/relationships/tags" Target="../tags/tag180.xml"/><Relationship Id="rId25" Type="http://schemas.openxmlformats.org/officeDocument/2006/relationships/tags" Target="../tags/tag188.xml"/><Relationship Id="rId33" Type="http://schemas.openxmlformats.org/officeDocument/2006/relationships/tags" Target="../tags/tag196.xml"/><Relationship Id="rId38" Type="http://schemas.openxmlformats.org/officeDocument/2006/relationships/tags" Target="../tags/tag201.xml"/><Relationship Id="rId46" Type="http://schemas.openxmlformats.org/officeDocument/2006/relationships/tags" Target="../tags/tag209.xml"/><Relationship Id="rId59" Type="http://schemas.openxmlformats.org/officeDocument/2006/relationships/tags" Target="../tags/tag222.xml"/><Relationship Id="rId67" Type="http://schemas.openxmlformats.org/officeDocument/2006/relationships/chart" Target="../charts/chart5.xml"/><Relationship Id="rId20" Type="http://schemas.openxmlformats.org/officeDocument/2006/relationships/tags" Target="../tags/tag183.xml"/><Relationship Id="rId41" Type="http://schemas.openxmlformats.org/officeDocument/2006/relationships/tags" Target="../tags/tag204.xml"/><Relationship Id="rId54" Type="http://schemas.openxmlformats.org/officeDocument/2006/relationships/tags" Target="../tags/tag217.xml"/><Relationship Id="rId62" Type="http://schemas.openxmlformats.org/officeDocument/2006/relationships/tags" Target="../tags/tag225.xml"/><Relationship Id="rId70" Type="http://schemas.openxmlformats.org/officeDocument/2006/relationships/chart" Target="../charts/chart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69.xml"/><Relationship Id="rId15" Type="http://schemas.openxmlformats.org/officeDocument/2006/relationships/tags" Target="../tags/tag178.xml"/><Relationship Id="rId23" Type="http://schemas.openxmlformats.org/officeDocument/2006/relationships/tags" Target="../tags/tag186.xml"/><Relationship Id="rId28" Type="http://schemas.openxmlformats.org/officeDocument/2006/relationships/tags" Target="../tags/tag191.xml"/><Relationship Id="rId36" Type="http://schemas.openxmlformats.org/officeDocument/2006/relationships/tags" Target="../tags/tag199.xml"/><Relationship Id="rId49" Type="http://schemas.openxmlformats.org/officeDocument/2006/relationships/tags" Target="../tags/tag212.xml"/><Relationship Id="rId57" Type="http://schemas.openxmlformats.org/officeDocument/2006/relationships/tags" Target="../tags/tag220.xml"/><Relationship Id="rId10" Type="http://schemas.openxmlformats.org/officeDocument/2006/relationships/tags" Target="../tags/tag173.xml"/><Relationship Id="rId31" Type="http://schemas.openxmlformats.org/officeDocument/2006/relationships/tags" Target="../tags/tag194.xml"/><Relationship Id="rId44" Type="http://schemas.openxmlformats.org/officeDocument/2006/relationships/tags" Target="../tags/tag207.xml"/><Relationship Id="rId52" Type="http://schemas.openxmlformats.org/officeDocument/2006/relationships/tags" Target="../tags/tag215.xml"/><Relationship Id="rId60" Type="http://schemas.openxmlformats.org/officeDocument/2006/relationships/tags" Target="../tags/tag223.xml"/><Relationship Id="rId65" Type="http://schemas.openxmlformats.org/officeDocument/2006/relationships/oleObject" Target="../embeddings/oleObject17.bin"/><Relationship Id="rId4" Type="http://schemas.openxmlformats.org/officeDocument/2006/relationships/tags" Target="../tags/tag167.xml"/><Relationship Id="rId9" Type="http://schemas.openxmlformats.org/officeDocument/2006/relationships/tags" Target="../tags/tag172.xml"/><Relationship Id="rId13" Type="http://schemas.openxmlformats.org/officeDocument/2006/relationships/tags" Target="../tags/tag176.xml"/><Relationship Id="rId18" Type="http://schemas.openxmlformats.org/officeDocument/2006/relationships/tags" Target="../tags/tag181.xml"/><Relationship Id="rId39" Type="http://schemas.openxmlformats.org/officeDocument/2006/relationships/tags" Target="../tags/tag202.xml"/><Relationship Id="rId34" Type="http://schemas.openxmlformats.org/officeDocument/2006/relationships/tags" Target="../tags/tag197.xml"/><Relationship Id="rId50" Type="http://schemas.openxmlformats.org/officeDocument/2006/relationships/tags" Target="../tags/tag213.xml"/><Relationship Id="rId55" Type="http://schemas.openxmlformats.org/officeDocument/2006/relationships/tags" Target="../tags/tag2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35.png"/><Relationship Id="rId2" Type="http://schemas.openxmlformats.org/officeDocument/2006/relationships/tags" Target="../tags/tag22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251.xml"/><Relationship Id="rId21" Type="http://schemas.openxmlformats.org/officeDocument/2006/relationships/tags" Target="../tags/tag246.xml"/><Relationship Id="rId42" Type="http://schemas.openxmlformats.org/officeDocument/2006/relationships/tags" Target="../tags/tag267.xml"/><Relationship Id="rId47" Type="http://schemas.openxmlformats.org/officeDocument/2006/relationships/tags" Target="../tags/tag272.xml"/><Relationship Id="rId63" Type="http://schemas.openxmlformats.org/officeDocument/2006/relationships/tags" Target="../tags/tag288.xml"/><Relationship Id="rId68" Type="http://schemas.openxmlformats.org/officeDocument/2006/relationships/tags" Target="../tags/tag293.xml"/><Relationship Id="rId84" Type="http://schemas.openxmlformats.org/officeDocument/2006/relationships/tags" Target="../tags/tag309.xml"/><Relationship Id="rId89" Type="http://schemas.openxmlformats.org/officeDocument/2006/relationships/tags" Target="../tags/tag314.xml"/><Relationship Id="rId16" Type="http://schemas.openxmlformats.org/officeDocument/2006/relationships/tags" Target="../tags/tag241.xml"/><Relationship Id="rId11" Type="http://schemas.openxmlformats.org/officeDocument/2006/relationships/tags" Target="../tags/tag236.xml"/><Relationship Id="rId32" Type="http://schemas.openxmlformats.org/officeDocument/2006/relationships/tags" Target="../tags/tag257.xml"/><Relationship Id="rId37" Type="http://schemas.openxmlformats.org/officeDocument/2006/relationships/tags" Target="../tags/tag262.xml"/><Relationship Id="rId53" Type="http://schemas.openxmlformats.org/officeDocument/2006/relationships/tags" Target="../tags/tag278.xml"/><Relationship Id="rId58" Type="http://schemas.openxmlformats.org/officeDocument/2006/relationships/tags" Target="../tags/tag283.xml"/><Relationship Id="rId74" Type="http://schemas.openxmlformats.org/officeDocument/2006/relationships/tags" Target="../tags/tag299.xml"/><Relationship Id="rId79" Type="http://schemas.openxmlformats.org/officeDocument/2006/relationships/tags" Target="../tags/tag304.xml"/><Relationship Id="rId102" Type="http://schemas.openxmlformats.org/officeDocument/2006/relationships/chart" Target="../charts/chart11.xml"/><Relationship Id="rId5" Type="http://schemas.openxmlformats.org/officeDocument/2006/relationships/tags" Target="../tags/tag230.xml"/><Relationship Id="rId90" Type="http://schemas.openxmlformats.org/officeDocument/2006/relationships/tags" Target="../tags/tag315.xml"/><Relationship Id="rId95" Type="http://schemas.openxmlformats.org/officeDocument/2006/relationships/tags" Target="../tags/tag320.xml"/><Relationship Id="rId22" Type="http://schemas.openxmlformats.org/officeDocument/2006/relationships/tags" Target="../tags/tag247.xml"/><Relationship Id="rId27" Type="http://schemas.openxmlformats.org/officeDocument/2006/relationships/tags" Target="../tags/tag252.xml"/><Relationship Id="rId43" Type="http://schemas.openxmlformats.org/officeDocument/2006/relationships/tags" Target="../tags/tag268.xml"/><Relationship Id="rId48" Type="http://schemas.openxmlformats.org/officeDocument/2006/relationships/tags" Target="../tags/tag273.xml"/><Relationship Id="rId64" Type="http://schemas.openxmlformats.org/officeDocument/2006/relationships/tags" Target="../tags/tag289.xml"/><Relationship Id="rId69" Type="http://schemas.openxmlformats.org/officeDocument/2006/relationships/tags" Target="../tags/tag294.xml"/><Relationship Id="rId80" Type="http://schemas.openxmlformats.org/officeDocument/2006/relationships/tags" Target="../tags/tag305.xml"/><Relationship Id="rId85" Type="http://schemas.openxmlformats.org/officeDocument/2006/relationships/tags" Target="../tags/tag310.xml"/><Relationship Id="rId12" Type="http://schemas.openxmlformats.org/officeDocument/2006/relationships/tags" Target="../tags/tag237.xml"/><Relationship Id="rId17" Type="http://schemas.openxmlformats.org/officeDocument/2006/relationships/tags" Target="../tags/tag242.xml"/><Relationship Id="rId25" Type="http://schemas.openxmlformats.org/officeDocument/2006/relationships/tags" Target="../tags/tag250.xml"/><Relationship Id="rId33" Type="http://schemas.openxmlformats.org/officeDocument/2006/relationships/tags" Target="../tags/tag258.xml"/><Relationship Id="rId38" Type="http://schemas.openxmlformats.org/officeDocument/2006/relationships/tags" Target="../tags/tag263.xml"/><Relationship Id="rId46" Type="http://schemas.openxmlformats.org/officeDocument/2006/relationships/tags" Target="../tags/tag271.xml"/><Relationship Id="rId59" Type="http://schemas.openxmlformats.org/officeDocument/2006/relationships/tags" Target="../tags/tag284.xml"/><Relationship Id="rId67" Type="http://schemas.openxmlformats.org/officeDocument/2006/relationships/tags" Target="../tags/tag292.xml"/><Relationship Id="rId20" Type="http://schemas.openxmlformats.org/officeDocument/2006/relationships/tags" Target="../tags/tag245.xml"/><Relationship Id="rId41" Type="http://schemas.openxmlformats.org/officeDocument/2006/relationships/tags" Target="../tags/tag266.xml"/><Relationship Id="rId54" Type="http://schemas.openxmlformats.org/officeDocument/2006/relationships/tags" Target="../tags/tag279.xml"/><Relationship Id="rId62" Type="http://schemas.openxmlformats.org/officeDocument/2006/relationships/tags" Target="../tags/tag287.xml"/><Relationship Id="rId70" Type="http://schemas.openxmlformats.org/officeDocument/2006/relationships/tags" Target="../tags/tag295.xml"/><Relationship Id="rId75" Type="http://schemas.openxmlformats.org/officeDocument/2006/relationships/tags" Target="../tags/tag300.xml"/><Relationship Id="rId83" Type="http://schemas.openxmlformats.org/officeDocument/2006/relationships/tags" Target="../tags/tag308.xml"/><Relationship Id="rId88" Type="http://schemas.openxmlformats.org/officeDocument/2006/relationships/tags" Target="../tags/tag313.xml"/><Relationship Id="rId91" Type="http://schemas.openxmlformats.org/officeDocument/2006/relationships/tags" Target="../tags/tag316.xml"/><Relationship Id="rId96" Type="http://schemas.openxmlformats.org/officeDocument/2006/relationships/tags" Target="../tags/tag32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31.xml"/><Relationship Id="rId15" Type="http://schemas.openxmlformats.org/officeDocument/2006/relationships/tags" Target="../tags/tag240.xml"/><Relationship Id="rId23" Type="http://schemas.openxmlformats.org/officeDocument/2006/relationships/tags" Target="../tags/tag248.xml"/><Relationship Id="rId28" Type="http://schemas.openxmlformats.org/officeDocument/2006/relationships/tags" Target="../tags/tag253.xml"/><Relationship Id="rId36" Type="http://schemas.openxmlformats.org/officeDocument/2006/relationships/tags" Target="../tags/tag261.xml"/><Relationship Id="rId49" Type="http://schemas.openxmlformats.org/officeDocument/2006/relationships/tags" Target="../tags/tag274.xml"/><Relationship Id="rId57" Type="http://schemas.openxmlformats.org/officeDocument/2006/relationships/tags" Target="../tags/tag282.xml"/><Relationship Id="rId10" Type="http://schemas.openxmlformats.org/officeDocument/2006/relationships/tags" Target="../tags/tag235.xml"/><Relationship Id="rId31" Type="http://schemas.openxmlformats.org/officeDocument/2006/relationships/tags" Target="../tags/tag256.xml"/><Relationship Id="rId44" Type="http://schemas.openxmlformats.org/officeDocument/2006/relationships/tags" Target="../tags/tag269.xml"/><Relationship Id="rId52" Type="http://schemas.openxmlformats.org/officeDocument/2006/relationships/tags" Target="../tags/tag277.xml"/><Relationship Id="rId60" Type="http://schemas.openxmlformats.org/officeDocument/2006/relationships/tags" Target="../tags/tag285.xml"/><Relationship Id="rId65" Type="http://schemas.openxmlformats.org/officeDocument/2006/relationships/tags" Target="../tags/tag290.xml"/><Relationship Id="rId73" Type="http://schemas.openxmlformats.org/officeDocument/2006/relationships/tags" Target="../tags/tag298.xml"/><Relationship Id="rId78" Type="http://schemas.openxmlformats.org/officeDocument/2006/relationships/tags" Target="../tags/tag303.xml"/><Relationship Id="rId81" Type="http://schemas.openxmlformats.org/officeDocument/2006/relationships/tags" Target="../tags/tag306.xml"/><Relationship Id="rId86" Type="http://schemas.openxmlformats.org/officeDocument/2006/relationships/tags" Target="../tags/tag311.xml"/><Relationship Id="rId94" Type="http://schemas.openxmlformats.org/officeDocument/2006/relationships/tags" Target="../tags/tag319.xml"/><Relationship Id="rId99" Type="http://schemas.openxmlformats.org/officeDocument/2006/relationships/oleObject" Target="../embeddings/oleObject19.bin"/><Relationship Id="rId101" Type="http://schemas.openxmlformats.org/officeDocument/2006/relationships/chart" Target="../charts/chart10.xml"/><Relationship Id="rId4" Type="http://schemas.openxmlformats.org/officeDocument/2006/relationships/tags" Target="../tags/tag229.xml"/><Relationship Id="rId9" Type="http://schemas.openxmlformats.org/officeDocument/2006/relationships/tags" Target="../tags/tag234.xml"/><Relationship Id="rId13" Type="http://schemas.openxmlformats.org/officeDocument/2006/relationships/tags" Target="../tags/tag238.xml"/><Relationship Id="rId18" Type="http://schemas.openxmlformats.org/officeDocument/2006/relationships/tags" Target="../tags/tag243.xml"/><Relationship Id="rId39" Type="http://schemas.openxmlformats.org/officeDocument/2006/relationships/tags" Target="../tags/tag264.xml"/><Relationship Id="rId34" Type="http://schemas.openxmlformats.org/officeDocument/2006/relationships/tags" Target="../tags/tag259.xml"/><Relationship Id="rId50" Type="http://schemas.openxmlformats.org/officeDocument/2006/relationships/tags" Target="../tags/tag275.xml"/><Relationship Id="rId55" Type="http://schemas.openxmlformats.org/officeDocument/2006/relationships/tags" Target="../tags/tag280.xml"/><Relationship Id="rId76" Type="http://schemas.openxmlformats.org/officeDocument/2006/relationships/tags" Target="../tags/tag301.xml"/><Relationship Id="rId97" Type="http://schemas.openxmlformats.org/officeDocument/2006/relationships/slideLayout" Target="../slideLayouts/slideLayout20.xml"/><Relationship Id="rId7" Type="http://schemas.openxmlformats.org/officeDocument/2006/relationships/tags" Target="../tags/tag232.xml"/><Relationship Id="rId71" Type="http://schemas.openxmlformats.org/officeDocument/2006/relationships/tags" Target="../tags/tag296.xml"/><Relationship Id="rId92" Type="http://schemas.openxmlformats.org/officeDocument/2006/relationships/tags" Target="../tags/tag317.xml"/><Relationship Id="rId2" Type="http://schemas.openxmlformats.org/officeDocument/2006/relationships/tags" Target="../tags/tag227.xml"/><Relationship Id="rId29" Type="http://schemas.openxmlformats.org/officeDocument/2006/relationships/tags" Target="../tags/tag254.xml"/><Relationship Id="rId24" Type="http://schemas.openxmlformats.org/officeDocument/2006/relationships/tags" Target="../tags/tag249.xml"/><Relationship Id="rId40" Type="http://schemas.openxmlformats.org/officeDocument/2006/relationships/tags" Target="../tags/tag265.xml"/><Relationship Id="rId45" Type="http://schemas.openxmlformats.org/officeDocument/2006/relationships/tags" Target="../tags/tag270.xml"/><Relationship Id="rId66" Type="http://schemas.openxmlformats.org/officeDocument/2006/relationships/tags" Target="../tags/tag291.xml"/><Relationship Id="rId87" Type="http://schemas.openxmlformats.org/officeDocument/2006/relationships/tags" Target="../tags/tag312.xml"/><Relationship Id="rId61" Type="http://schemas.openxmlformats.org/officeDocument/2006/relationships/tags" Target="../tags/tag286.xml"/><Relationship Id="rId82" Type="http://schemas.openxmlformats.org/officeDocument/2006/relationships/tags" Target="../tags/tag307.xml"/><Relationship Id="rId19" Type="http://schemas.openxmlformats.org/officeDocument/2006/relationships/tags" Target="../tags/tag244.xml"/><Relationship Id="rId14" Type="http://schemas.openxmlformats.org/officeDocument/2006/relationships/tags" Target="../tags/tag239.xml"/><Relationship Id="rId30" Type="http://schemas.openxmlformats.org/officeDocument/2006/relationships/tags" Target="../tags/tag255.xml"/><Relationship Id="rId35" Type="http://schemas.openxmlformats.org/officeDocument/2006/relationships/tags" Target="../tags/tag260.xml"/><Relationship Id="rId56" Type="http://schemas.openxmlformats.org/officeDocument/2006/relationships/tags" Target="../tags/tag281.xml"/><Relationship Id="rId77" Type="http://schemas.openxmlformats.org/officeDocument/2006/relationships/tags" Target="../tags/tag302.xml"/><Relationship Id="rId100" Type="http://schemas.openxmlformats.org/officeDocument/2006/relationships/image" Target="../media/image3.emf"/><Relationship Id="rId8" Type="http://schemas.openxmlformats.org/officeDocument/2006/relationships/tags" Target="../tags/tag233.xml"/><Relationship Id="rId51" Type="http://schemas.openxmlformats.org/officeDocument/2006/relationships/tags" Target="../tags/tag276.xml"/><Relationship Id="rId72" Type="http://schemas.openxmlformats.org/officeDocument/2006/relationships/tags" Target="../tags/tag297.xml"/><Relationship Id="rId93" Type="http://schemas.openxmlformats.org/officeDocument/2006/relationships/tags" Target="../tags/tag318.xml"/><Relationship Id="rId98" Type="http://schemas.openxmlformats.org/officeDocument/2006/relationships/notesSlide" Target="../notesSlides/notesSlide10.xml"/><Relationship Id="rId3" Type="http://schemas.openxmlformats.org/officeDocument/2006/relationships/tags" Target="../tags/tag228.xml"/></Relationships>
</file>

<file path=ppt/slides/_rels/slide21.xml.rels><?xml version="1.0" encoding="UTF-8" standalone="yes"?>
<Relationships xmlns="http://schemas.openxmlformats.org/package/2006/relationships"><Relationship Id="rId117" Type="http://schemas.openxmlformats.org/officeDocument/2006/relationships/tags" Target="../tags/tag437.xml"/><Relationship Id="rId21" Type="http://schemas.openxmlformats.org/officeDocument/2006/relationships/tags" Target="../tags/tag341.xml"/><Relationship Id="rId42" Type="http://schemas.openxmlformats.org/officeDocument/2006/relationships/tags" Target="../tags/tag362.xml"/><Relationship Id="rId63" Type="http://schemas.openxmlformats.org/officeDocument/2006/relationships/tags" Target="../tags/tag383.xml"/><Relationship Id="rId84" Type="http://schemas.openxmlformats.org/officeDocument/2006/relationships/tags" Target="../tags/tag404.xml"/><Relationship Id="rId138" Type="http://schemas.openxmlformats.org/officeDocument/2006/relationships/tags" Target="../tags/tag458.xml"/><Relationship Id="rId159" Type="http://schemas.openxmlformats.org/officeDocument/2006/relationships/tags" Target="../tags/tag479.xml"/><Relationship Id="rId170" Type="http://schemas.openxmlformats.org/officeDocument/2006/relationships/tags" Target="../tags/tag490.xml"/><Relationship Id="rId191" Type="http://schemas.openxmlformats.org/officeDocument/2006/relationships/tags" Target="../tags/tag511.xml"/><Relationship Id="rId205" Type="http://schemas.openxmlformats.org/officeDocument/2006/relationships/chart" Target="../charts/chart15.xml"/><Relationship Id="rId107" Type="http://schemas.openxmlformats.org/officeDocument/2006/relationships/tags" Target="../tags/tag427.xml"/><Relationship Id="rId11" Type="http://schemas.openxmlformats.org/officeDocument/2006/relationships/tags" Target="../tags/tag331.xml"/><Relationship Id="rId32" Type="http://schemas.openxmlformats.org/officeDocument/2006/relationships/tags" Target="../tags/tag352.xml"/><Relationship Id="rId53" Type="http://schemas.openxmlformats.org/officeDocument/2006/relationships/tags" Target="../tags/tag373.xml"/><Relationship Id="rId74" Type="http://schemas.openxmlformats.org/officeDocument/2006/relationships/tags" Target="../tags/tag394.xml"/><Relationship Id="rId128" Type="http://schemas.openxmlformats.org/officeDocument/2006/relationships/tags" Target="../tags/tag448.xml"/><Relationship Id="rId149" Type="http://schemas.openxmlformats.org/officeDocument/2006/relationships/tags" Target="../tags/tag469.xml"/><Relationship Id="rId5" Type="http://schemas.openxmlformats.org/officeDocument/2006/relationships/tags" Target="../tags/tag325.xml"/><Relationship Id="rId95" Type="http://schemas.openxmlformats.org/officeDocument/2006/relationships/tags" Target="../tags/tag415.xml"/><Relationship Id="rId160" Type="http://schemas.openxmlformats.org/officeDocument/2006/relationships/tags" Target="../tags/tag480.xml"/><Relationship Id="rId181" Type="http://schemas.openxmlformats.org/officeDocument/2006/relationships/tags" Target="../tags/tag501.xml"/><Relationship Id="rId22" Type="http://schemas.openxmlformats.org/officeDocument/2006/relationships/tags" Target="../tags/tag342.xml"/><Relationship Id="rId43" Type="http://schemas.openxmlformats.org/officeDocument/2006/relationships/tags" Target="../tags/tag363.xml"/><Relationship Id="rId64" Type="http://schemas.openxmlformats.org/officeDocument/2006/relationships/tags" Target="../tags/tag384.xml"/><Relationship Id="rId118" Type="http://schemas.openxmlformats.org/officeDocument/2006/relationships/tags" Target="../tags/tag438.xml"/><Relationship Id="rId139" Type="http://schemas.openxmlformats.org/officeDocument/2006/relationships/tags" Target="../tags/tag459.xml"/><Relationship Id="rId85" Type="http://schemas.openxmlformats.org/officeDocument/2006/relationships/tags" Target="../tags/tag405.xml"/><Relationship Id="rId150" Type="http://schemas.openxmlformats.org/officeDocument/2006/relationships/tags" Target="../tags/tag470.xml"/><Relationship Id="rId171" Type="http://schemas.openxmlformats.org/officeDocument/2006/relationships/tags" Target="../tags/tag491.xml"/><Relationship Id="rId192" Type="http://schemas.openxmlformats.org/officeDocument/2006/relationships/tags" Target="../tags/tag512.xml"/><Relationship Id="rId12" Type="http://schemas.openxmlformats.org/officeDocument/2006/relationships/tags" Target="../tags/tag332.xml"/><Relationship Id="rId33" Type="http://schemas.openxmlformats.org/officeDocument/2006/relationships/tags" Target="../tags/tag353.xml"/><Relationship Id="rId108" Type="http://schemas.openxmlformats.org/officeDocument/2006/relationships/tags" Target="../tags/tag428.xml"/><Relationship Id="rId129" Type="http://schemas.openxmlformats.org/officeDocument/2006/relationships/tags" Target="../tags/tag449.xml"/><Relationship Id="rId54" Type="http://schemas.openxmlformats.org/officeDocument/2006/relationships/tags" Target="../tags/tag374.xml"/><Relationship Id="rId75" Type="http://schemas.openxmlformats.org/officeDocument/2006/relationships/tags" Target="../tags/tag395.xml"/><Relationship Id="rId96" Type="http://schemas.openxmlformats.org/officeDocument/2006/relationships/tags" Target="../tags/tag416.xml"/><Relationship Id="rId140" Type="http://schemas.openxmlformats.org/officeDocument/2006/relationships/tags" Target="../tags/tag460.xml"/><Relationship Id="rId161" Type="http://schemas.openxmlformats.org/officeDocument/2006/relationships/tags" Target="../tags/tag481.xml"/><Relationship Id="rId182" Type="http://schemas.openxmlformats.org/officeDocument/2006/relationships/tags" Target="../tags/tag502.xml"/><Relationship Id="rId6" Type="http://schemas.openxmlformats.org/officeDocument/2006/relationships/tags" Target="../tags/tag326.xml"/><Relationship Id="rId23" Type="http://schemas.openxmlformats.org/officeDocument/2006/relationships/tags" Target="../tags/tag343.xml"/><Relationship Id="rId119" Type="http://schemas.openxmlformats.org/officeDocument/2006/relationships/tags" Target="../tags/tag439.xml"/><Relationship Id="rId44" Type="http://schemas.openxmlformats.org/officeDocument/2006/relationships/tags" Target="../tags/tag364.xml"/><Relationship Id="rId65" Type="http://schemas.openxmlformats.org/officeDocument/2006/relationships/tags" Target="../tags/tag385.xml"/><Relationship Id="rId86" Type="http://schemas.openxmlformats.org/officeDocument/2006/relationships/tags" Target="../tags/tag406.xml"/><Relationship Id="rId130" Type="http://schemas.openxmlformats.org/officeDocument/2006/relationships/tags" Target="../tags/tag450.xml"/><Relationship Id="rId151" Type="http://schemas.openxmlformats.org/officeDocument/2006/relationships/tags" Target="../tags/tag471.xml"/><Relationship Id="rId172" Type="http://schemas.openxmlformats.org/officeDocument/2006/relationships/tags" Target="../tags/tag492.xml"/><Relationship Id="rId193" Type="http://schemas.openxmlformats.org/officeDocument/2006/relationships/tags" Target="../tags/tag513.xml"/><Relationship Id="rId13" Type="http://schemas.openxmlformats.org/officeDocument/2006/relationships/tags" Target="../tags/tag333.xml"/><Relationship Id="rId109" Type="http://schemas.openxmlformats.org/officeDocument/2006/relationships/tags" Target="../tags/tag429.xml"/><Relationship Id="rId34" Type="http://schemas.openxmlformats.org/officeDocument/2006/relationships/tags" Target="../tags/tag354.xml"/><Relationship Id="rId55" Type="http://schemas.openxmlformats.org/officeDocument/2006/relationships/tags" Target="../tags/tag375.xml"/><Relationship Id="rId76" Type="http://schemas.openxmlformats.org/officeDocument/2006/relationships/tags" Target="../tags/tag396.xml"/><Relationship Id="rId97" Type="http://schemas.openxmlformats.org/officeDocument/2006/relationships/tags" Target="../tags/tag417.xml"/><Relationship Id="rId120" Type="http://schemas.openxmlformats.org/officeDocument/2006/relationships/tags" Target="../tags/tag440.xml"/><Relationship Id="rId141" Type="http://schemas.openxmlformats.org/officeDocument/2006/relationships/tags" Target="../tags/tag461.xml"/><Relationship Id="rId7" Type="http://schemas.openxmlformats.org/officeDocument/2006/relationships/tags" Target="../tags/tag327.xml"/><Relationship Id="rId162" Type="http://schemas.openxmlformats.org/officeDocument/2006/relationships/tags" Target="../tags/tag482.xml"/><Relationship Id="rId183" Type="http://schemas.openxmlformats.org/officeDocument/2006/relationships/tags" Target="../tags/tag503.xml"/><Relationship Id="rId24" Type="http://schemas.openxmlformats.org/officeDocument/2006/relationships/tags" Target="../tags/tag344.xml"/><Relationship Id="rId40" Type="http://schemas.openxmlformats.org/officeDocument/2006/relationships/tags" Target="../tags/tag360.xml"/><Relationship Id="rId45" Type="http://schemas.openxmlformats.org/officeDocument/2006/relationships/tags" Target="../tags/tag365.xml"/><Relationship Id="rId66" Type="http://schemas.openxmlformats.org/officeDocument/2006/relationships/tags" Target="../tags/tag386.xml"/><Relationship Id="rId87" Type="http://schemas.openxmlformats.org/officeDocument/2006/relationships/tags" Target="../tags/tag407.xml"/><Relationship Id="rId110" Type="http://schemas.openxmlformats.org/officeDocument/2006/relationships/tags" Target="../tags/tag430.xml"/><Relationship Id="rId115" Type="http://schemas.openxmlformats.org/officeDocument/2006/relationships/tags" Target="../tags/tag435.xml"/><Relationship Id="rId131" Type="http://schemas.openxmlformats.org/officeDocument/2006/relationships/tags" Target="../tags/tag451.xml"/><Relationship Id="rId136" Type="http://schemas.openxmlformats.org/officeDocument/2006/relationships/tags" Target="../tags/tag456.xml"/><Relationship Id="rId157" Type="http://schemas.openxmlformats.org/officeDocument/2006/relationships/tags" Target="../tags/tag477.xml"/><Relationship Id="rId178" Type="http://schemas.openxmlformats.org/officeDocument/2006/relationships/tags" Target="../tags/tag498.xml"/><Relationship Id="rId61" Type="http://schemas.openxmlformats.org/officeDocument/2006/relationships/tags" Target="../tags/tag381.xml"/><Relationship Id="rId82" Type="http://schemas.openxmlformats.org/officeDocument/2006/relationships/tags" Target="../tags/tag402.xml"/><Relationship Id="rId152" Type="http://schemas.openxmlformats.org/officeDocument/2006/relationships/tags" Target="../tags/tag472.xml"/><Relationship Id="rId173" Type="http://schemas.openxmlformats.org/officeDocument/2006/relationships/tags" Target="../tags/tag493.xml"/><Relationship Id="rId194" Type="http://schemas.openxmlformats.org/officeDocument/2006/relationships/tags" Target="../tags/tag514.xml"/><Relationship Id="rId199" Type="http://schemas.openxmlformats.org/officeDocument/2006/relationships/notesSlide" Target="../notesSlides/notesSlide11.xml"/><Relationship Id="rId203" Type="http://schemas.openxmlformats.org/officeDocument/2006/relationships/chart" Target="../charts/chart13.xml"/><Relationship Id="rId19" Type="http://schemas.openxmlformats.org/officeDocument/2006/relationships/tags" Target="../tags/tag339.xml"/><Relationship Id="rId14" Type="http://schemas.openxmlformats.org/officeDocument/2006/relationships/tags" Target="../tags/tag334.xml"/><Relationship Id="rId30" Type="http://schemas.openxmlformats.org/officeDocument/2006/relationships/tags" Target="../tags/tag350.xml"/><Relationship Id="rId35" Type="http://schemas.openxmlformats.org/officeDocument/2006/relationships/tags" Target="../tags/tag355.xml"/><Relationship Id="rId56" Type="http://schemas.openxmlformats.org/officeDocument/2006/relationships/tags" Target="../tags/tag376.xml"/><Relationship Id="rId77" Type="http://schemas.openxmlformats.org/officeDocument/2006/relationships/tags" Target="../tags/tag397.xml"/><Relationship Id="rId100" Type="http://schemas.openxmlformats.org/officeDocument/2006/relationships/tags" Target="../tags/tag420.xml"/><Relationship Id="rId105" Type="http://schemas.openxmlformats.org/officeDocument/2006/relationships/tags" Target="../tags/tag425.xml"/><Relationship Id="rId126" Type="http://schemas.openxmlformats.org/officeDocument/2006/relationships/tags" Target="../tags/tag446.xml"/><Relationship Id="rId147" Type="http://schemas.openxmlformats.org/officeDocument/2006/relationships/tags" Target="../tags/tag467.xml"/><Relationship Id="rId168" Type="http://schemas.openxmlformats.org/officeDocument/2006/relationships/tags" Target="../tags/tag488.xml"/><Relationship Id="rId8" Type="http://schemas.openxmlformats.org/officeDocument/2006/relationships/tags" Target="../tags/tag328.xml"/><Relationship Id="rId51" Type="http://schemas.openxmlformats.org/officeDocument/2006/relationships/tags" Target="../tags/tag371.xml"/><Relationship Id="rId72" Type="http://schemas.openxmlformats.org/officeDocument/2006/relationships/tags" Target="../tags/tag392.xml"/><Relationship Id="rId93" Type="http://schemas.openxmlformats.org/officeDocument/2006/relationships/tags" Target="../tags/tag413.xml"/><Relationship Id="rId98" Type="http://schemas.openxmlformats.org/officeDocument/2006/relationships/tags" Target="../tags/tag418.xml"/><Relationship Id="rId121" Type="http://schemas.openxmlformats.org/officeDocument/2006/relationships/tags" Target="../tags/tag441.xml"/><Relationship Id="rId142" Type="http://schemas.openxmlformats.org/officeDocument/2006/relationships/tags" Target="../tags/tag462.xml"/><Relationship Id="rId163" Type="http://schemas.openxmlformats.org/officeDocument/2006/relationships/tags" Target="../tags/tag483.xml"/><Relationship Id="rId184" Type="http://schemas.openxmlformats.org/officeDocument/2006/relationships/tags" Target="../tags/tag504.xml"/><Relationship Id="rId189" Type="http://schemas.openxmlformats.org/officeDocument/2006/relationships/tags" Target="../tags/tag509.xml"/><Relationship Id="rId3" Type="http://schemas.openxmlformats.org/officeDocument/2006/relationships/tags" Target="../tags/tag323.xml"/><Relationship Id="rId25" Type="http://schemas.openxmlformats.org/officeDocument/2006/relationships/tags" Target="../tags/tag345.xml"/><Relationship Id="rId46" Type="http://schemas.openxmlformats.org/officeDocument/2006/relationships/tags" Target="../tags/tag366.xml"/><Relationship Id="rId67" Type="http://schemas.openxmlformats.org/officeDocument/2006/relationships/tags" Target="../tags/tag387.xml"/><Relationship Id="rId116" Type="http://schemas.openxmlformats.org/officeDocument/2006/relationships/tags" Target="../tags/tag436.xml"/><Relationship Id="rId137" Type="http://schemas.openxmlformats.org/officeDocument/2006/relationships/tags" Target="../tags/tag457.xml"/><Relationship Id="rId158" Type="http://schemas.openxmlformats.org/officeDocument/2006/relationships/tags" Target="../tags/tag478.xml"/><Relationship Id="rId20" Type="http://schemas.openxmlformats.org/officeDocument/2006/relationships/tags" Target="../tags/tag340.xml"/><Relationship Id="rId41" Type="http://schemas.openxmlformats.org/officeDocument/2006/relationships/tags" Target="../tags/tag361.xml"/><Relationship Id="rId62" Type="http://schemas.openxmlformats.org/officeDocument/2006/relationships/tags" Target="../tags/tag382.xml"/><Relationship Id="rId83" Type="http://schemas.openxmlformats.org/officeDocument/2006/relationships/tags" Target="../tags/tag403.xml"/><Relationship Id="rId88" Type="http://schemas.openxmlformats.org/officeDocument/2006/relationships/tags" Target="../tags/tag408.xml"/><Relationship Id="rId111" Type="http://schemas.openxmlformats.org/officeDocument/2006/relationships/tags" Target="../tags/tag431.xml"/><Relationship Id="rId132" Type="http://schemas.openxmlformats.org/officeDocument/2006/relationships/tags" Target="../tags/tag452.xml"/><Relationship Id="rId153" Type="http://schemas.openxmlformats.org/officeDocument/2006/relationships/tags" Target="../tags/tag473.xml"/><Relationship Id="rId174" Type="http://schemas.openxmlformats.org/officeDocument/2006/relationships/tags" Target="../tags/tag494.xml"/><Relationship Id="rId179" Type="http://schemas.openxmlformats.org/officeDocument/2006/relationships/tags" Target="../tags/tag499.xml"/><Relationship Id="rId195" Type="http://schemas.openxmlformats.org/officeDocument/2006/relationships/tags" Target="../tags/tag515.xml"/><Relationship Id="rId190" Type="http://schemas.openxmlformats.org/officeDocument/2006/relationships/tags" Target="../tags/tag510.xml"/><Relationship Id="rId204" Type="http://schemas.openxmlformats.org/officeDocument/2006/relationships/chart" Target="../charts/chart14.xml"/><Relationship Id="rId15" Type="http://schemas.openxmlformats.org/officeDocument/2006/relationships/tags" Target="../tags/tag335.xml"/><Relationship Id="rId36" Type="http://schemas.openxmlformats.org/officeDocument/2006/relationships/tags" Target="../tags/tag356.xml"/><Relationship Id="rId57" Type="http://schemas.openxmlformats.org/officeDocument/2006/relationships/tags" Target="../tags/tag377.xml"/><Relationship Id="rId106" Type="http://schemas.openxmlformats.org/officeDocument/2006/relationships/tags" Target="../tags/tag426.xml"/><Relationship Id="rId127" Type="http://schemas.openxmlformats.org/officeDocument/2006/relationships/tags" Target="../tags/tag447.xml"/><Relationship Id="rId10" Type="http://schemas.openxmlformats.org/officeDocument/2006/relationships/tags" Target="../tags/tag330.xml"/><Relationship Id="rId31" Type="http://schemas.openxmlformats.org/officeDocument/2006/relationships/tags" Target="../tags/tag351.xml"/><Relationship Id="rId52" Type="http://schemas.openxmlformats.org/officeDocument/2006/relationships/tags" Target="../tags/tag372.xml"/><Relationship Id="rId73" Type="http://schemas.openxmlformats.org/officeDocument/2006/relationships/tags" Target="../tags/tag393.xml"/><Relationship Id="rId78" Type="http://schemas.openxmlformats.org/officeDocument/2006/relationships/tags" Target="../tags/tag398.xml"/><Relationship Id="rId94" Type="http://schemas.openxmlformats.org/officeDocument/2006/relationships/tags" Target="../tags/tag414.xml"/><Relationship Id="rId99" Type="http://schemas.openxmlformats.org/officeDocument/2006/relationships/tags" Target="../tags/tag419.xml"/><Relationship Id="rId101" Type="http://schemas.openxmlformats.org/officeDocument/2006/relationships/tags" Target="../tags/tag421.xml"/><Relationship Id="rId122" Type="http://schemas.openxmlformats.org/officeDocument/2006/relationships/tags" Target="../tags/tag442.xml"/><Relationship Id="rId143" Type="http://schemas.openxmlformats.org/officeDocument/2006/relationships/tags" Target="../tags/tag463.xml"/><Relationship Id="rId148" Type="http://schemas.openxmlformats.org/officeDocument/2006/relationships/tags" Target="../tags/tag468.xml"/><Relationship Id="rId164" Type="http://schemas.openxmlformats.org/officeDocument/2006/relationships/tags" Target="../tags/tag484.xml"/><Relationship Id="rId169" Type="http://schemas.openxmlformats.org/officeDocument/2006/relationships/tags" Target="../tags/tag489.xml"/><Relationship Id="rId185" Type="http://schemas.openxmlformats.org/officeDocument/2006/relationships/tags" Target="../tags/tag505.xml"/><Relationship Id="rId4" Type="http://schemas.openxmlformats.org/officeDocument/2006/relationships/tags" Target="../tags/tag324.xml"/><Relationship Id="rId9" Type="http://schemas.openxmlformats.org/officeDocument/2006/relationships/tags" Target="../tags/tag329.xml"/><Relationship Id="rId180" Type="http://schemas.openxmlformats.org/officeDocument/2006/relationships/tags" Target="../tags/tag500.xml"/><Relationship Id="rId26" Type="http://schemas.openxmlformats.org/officeDocument/2006/relationships/tags" Target="../tags/tag346.xml"/><Relationship Id="rId47" Type="http://schemas.openxmlformats.org/officeDocument/2006/relationships/tags" Target="../tags/tag367.xml"/><Relationship Id="rId68" Type="http://schemas.openxmlformats.org/officeDocument/2006/relationships/tags" Target="../tags/tag388.xml"/><Relationship Id="rId89" Type="http://schemas.openxmlformats.org/officeDocument/2006/relationships/tags" Target="../tags/tag409.xml"/><Relationship Id="rId112" Type="http://schemas.openxmlformats.org/officeDocument/2006/relationships/tags" Target="../tags/tag432.xml"/><Relationship Id="rId133" Type="http://schemas.openxmlformats.org/officeDocument/2006/relationships/tags" Target="../tags/tag453.xml"/><Relationship Id="rId154" Type="http://schemas.openxmlformats.org/officeDocument/2006/relationships/tags" Target="../tags/tag474.xml"/><Relationship Id="rId175" Type="http://schemas.openxmlformats.org/officeDocument/2006/relationships/tags" Target="../tags/tag495.xml"/><Relationship Id="rId196" Type="http://schemas.openxmlformats.org/officeDocument/2006/relationships/tags" Target="../tags/tag516.xml"/><Relationship Id="rId200" Type="http://schemas.openxmlformats.org/officeDocument/2006/relationships/oleObject" Target="../embeddings/oleObject20.bin"/><Relationship Id="rId16" Type="http://schemas.openxmlformats.org/officeDocument/2006/relationships/tags" Target="../tags/tag336.xml"/><Relationship Id="rId37" Type="http://schemas.openxmlformats.org/officeDocument/2006/relationships/tags" Target="../tags/tag357.xml"/><Relationship Id="rId58" Type="http://schemas.openxmlformats.org/officeDocument/2006/relationships/tags" Target="../tags/tag378.xml"/><Relationship Id="rId79" Type="http://schemas.openxmlformats.org/officeDocument/2006/relationships/tags" Target="../tags/tag399.xml"/><Relationship Id="rId102" Type="http://schemas.openxmlformats.org/officeDocument/2006/relationships/tags" Target="../tags/tag422.xml"/><Relationship Id="rId123" Type="http://schemas.openxmlformats.org/officeDocument/2006/relationships/tags" Target="../tags/tag443.xml"/><Relationship Id="rId144" Type="http://schemas.openxmlformats.org/officeDocument/2006/relationships/tags" Target="../tags/tag464.xml"/><Relationship Id="rId90" Type="http://schemas.openxmlformats.org/officeDocument/2006/relationships/tags" Target="../tags/tag410.xml"/><Relationship Id="rId165" Type="http://schemas.openxmlformats.org/officeDocument/2006/relationships/tags" Target="../tags/tag485.xml"/><Relationship Id="rId186" Type="http://schemas.openxmlformats.org/officeDocument/2006/relationships/tags" Target="../tags/tag506.xml"/><Relationship Id="rId27" Type="http://schemas.openxmlformats.org/officeDocument/2006/relationships/tags" Target="../tags/tag347.xml"/><Relationship Id="rId48" Type="http://schemas.openxmlformats.org/officeDocument/2006/relationships/tags" Target="../tags/tag368.xml"/><Relationship Id="rId69" Type="http://schemas.openxmlformats.org/officeDocument/2006/relationships/tags" Target="../tags/tag389.xml"/><Relationship Id="rId113" Type="http://schemas.openxmlformats.org/officeDocument/2006/relationships/tags" Target="../tags/tag433.xml"/><Relationship Id="rId134" Type="http://schemas.openxmlformats.org/officeDocument/2006/relationships/tags" Target="../tags/tag454.xml"/><Relationship Id="rId80" Type="http://schemas.openxmlformats.org/officeDocument/2006/relationships/tags" Target="../tags/tag400.xml"/><Relationship Id="rId155" Type="http://schemas.openxmlformats.org/officeDocument/2006/relationships/tags" Target="../tags/tag475.xml"/><Relationship Id="rId176" Type="http://schemas.openxmlformats.org/officeDocument/2006/relationships/tags" Target="../tags/tag496.xml"/><Relationship Id="rId197" Type="http://schemas.openxmlformats.org/officeDocument/2006/relationships/tags" Target="../tags/tag517.xml"/><Relationship Id="rId201" Type="http://schemas.openxmlformats.org/officeDocument/2006/relationships/image" Target="../media/image10.emf"/><Relationship Id="rId17" Type="http://schemas.openxmlformats.org/officeDocument/2006/relationships/tags" Target="../tags/tag337.xml"/><Relationship Id="rId38" Type="http://schemas.openxmlformats.org/officeDocument/2006/relationships/tags" Target="../tags/tag358.xml"/><Relationship Id="rId59" Type="http://schemas.openxmlformats.org/officeDocument/2006/relationships/tags" Target="../tags/tag379.xml"/><Relationship Id="rId103" Type="http://schemas.openxmlformats.org/officeDocument/2006/relationships/tags" Target="../tags/tag423.xml"/><Relationship Id="rId124" Type="http://schemas.openxmlformats.org/officeDocument/2006/relationships/tags" Target="../tags/tag444.xml"/><Relationship Id="rId70" Type="http://schemas.openxmlformats.org/officeDocument/2006/relationships/tags" Target="../tags/tag390.xml"/><Relationship Id="rId91" Type="http://schemas.openxmlformats.org/officeDocument/2006/relationships/tags" Target="../tags/tag411.xml"/><Relationship Id="rId145" Type="http://schemas.openxmlformats.org/officeDocument/2006/relationships/tags" Target="../tags/tag465.xml"/><Relationship Id="rId166" Type="http://schemas.openxmlformats.org/officeDocument/2006/relationships/tags" Target="../tags/tag486.xml"/><Relationship Id="rId187" Type="http://schemas.openxmlformats.org/officeDocument/2006/relationships/tags" Target="../tags/tag507.xml"/><Relationship Id="rId1" Type="http://schemas.openxmlformats.org/officeDocument/2006/relationships/vmlDrawing" Target="../drawings/vmlDrawing20.vml"/><Relationship Id="rId28" Type="http://schemas.openxmlformats.org/officeDocument/2006/relationships/tags" Target="../tags/tag348.xml"/><Relationship Id="rId49" Type="http://schemas.openxmlformats.org/officeDocument/2006/relationships/tags" Target="../tags/tag369.xml"/><Relationship Id="rId114" Type="http://schemas.openxmlformats.org/officeDocument/2006/relationships/tags" Target="../tags/tag434.xml"/><Relationship Id="rId60" Type="http://schemas.openxmlformats.org/officeDocument/2006/relationships/tags" Target="../tags/tag380.xml"/><Relationship Id="rId81" Type="http://schemas.openxmlformats.org/officeDocument/2006/relationships/tags" Target="../tags/tag401.xml"/><Relationship Id="rId135" Type="http://schemas.openxmlformats.org/officeDocument/2006/relationships/tags" Target="../tags/tag455.xml"/><Relationship Id="rId156" Type="http://schemas.openxmlformats.org/officeDocument/2006/relationships/tags" Target="../tags/tag476.xml"/><Relationship Id="rId177" Type="http://schemas.openxmlformats.org/officeDocument/2006/relationships/tags" Target="../tags/tag497.xml"/><Relationship Id="rId198" Type="http://schemas.openxmlformats.org/officeDocument/2006/relationships/slideLayout" Target="../slideLayouts/slideLayout20.xml"/><Relationship Id="rId202" Type="http://schemas.openxmlformats.org/officeDocument/2006/relationships/chart" Target="../charts/chart12.xml"/><Relationship Id="rId18" Type="http://schemas.openxmlformats.org/officeDocument/2006/relationships/tags" Target="../tags/tag338.xml"/><Relationship Id="rId39" Type="http://schemas.openxmlformats.org/officeDocument/2006/relationships/tags" Target="../tags/tag359.xml"/><Relationship Id="rId50" Type="http://schemas.openxmlformats.org/officeDocument/2006/relationships/tags" Target="../tags/tag370.xml"/><Relationship Id="rId104" Type="http://schemas.openxmlformats.org/officeDocument/2006/relationships/tags" Target="../tags/tag424.xml"/><Relationship Id="rId125" Type="http://schemas.openxmlformats.org/officeDocument/2006/relationships/tags" Target="../tags/tag445.xml"/><Relationship Id="rId146" Type="http://schemas.openxmlformats.org/officeDocument/2006/relationships/tags" Target="../tags/tag466.xml"/><Relationship Id="rId167" Type="http://schemas.openxmlformats.org/officeDocument/2006/relationships/tags" Target="../tags/tag487.xml"/><Relationship Id="rId188" Type="http://schemas.openxmlformats.org/officeDocument/2006/relationships/tags" Target="../tags/tag508.xml"/><Relationship Id="rId71" Type="http://schemas.openxmlformats.org/officeDocument/2006/relationships/tags" Target="../tags/tag391.xml"/><Relationship Id="rId92" Type="http://schemas.openxmlformats.org/officeDocument/2006/relationships/tags" Target="../tags/tag412.xml"/><Relationship Id="rId2" Type="http://schemas.openxmlformats.org/officeDocument/2006/relationships/tags" Target="../tags/tag322.xml"/><Relationship Id="rId29" Type="http://schemas.openxmlformats.org/officeDocument/2006/relationships/tags" Target="../tags/tag34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6.png"/><Relationship Id="rId18" Type="http://schemas.openxmlformats.org/officeDocument/2006/relationships/image" Target="../media/image51.svg"/><Relationship Id="rId26" Type="http://schemas.openxmlformats.org/officeDocument/2006/relationships/image" Target="../media/image59.svg"/><Relationship Id="rId3" Type="http://schemas.openxmlformats.org/officeDocument/2006/relationships/image" Target="../media/image36.png"/><Relationship Id="rId21" Type="http://schemas.openxmlformats.org/officeDocument/2006/relationships/image" Target="../media/image54.png"/><Relationship Id="rId7" Type="http://schemas.openxmlformats.org/officeDocument/2006/relationships/image" Target="../media/image40.png"/><Relationship Id="rId12" Type="http://schemas.openxmlformats.org/officeDocument/2006/relationships/image" Target="../media/image45.svg"/><Relationship Id="rId17" Type="http://schemas.openxmlformats.org/officeDocument/2006/relationships/image" Target="../media/image50.png"/><Relationship Id="rId25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49.png"/><Relationship Id="rId20" Type="http://schemas.openxmlformats.org/officeDocument/2006/relationships/image" Target="../media/image53.svg"/><Relationship Id="rId29" Type="http://schemas.openxmlformats.org/officeDocument/2006/relationships/image" Target="../media/image62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9.svg"/><Relationship Id="rId11" Type="http://schemas.openxmlformats.org/officeDocument/2006/relationships/image" Target="../media/image44.png"/><Relationship Id="rId24" Type="http://schemas.openxmlformats.org/officeDocument/2006/relationships/image" Target="../media/image57.svg"/><Relationship Id="rId5" Type="http://schemas.openxmlformats.org/officeDocument/2006/relationships/image" Target="../media/image38.png"/><Relationship Id="rId15" Type="http://schemas.openxmlformats.org/officeDocument/2006/relationships/image" Target="../media/image48.png"/><Relationship Id="rId23" Type="http://schemas.openxmlformats.org/officeDocument/2006/relationships/image" Target="../media/image56.png"/><Relationship Id="rId28" Type="http://schemas.openxmlformats.org/officeDocument/2006/relationships/image" Target="../media/image61.svg"/><Relationship Id="rId10" Type="http://schemas.openxmlformats.org/officeDocument/2006/relationships/image" Target="../media/image43.svg"/><Relationship Id="rId19" Type="http://schemas.openxmlformats.org/officeDocument/2006/relationships/image" Target="../media/image52.png"/><Relationship Id="rId4" Type="http://schemas.openxmlformats.org/officeDocument/2006/relationships/image" Target="../media/image37.svg"/><Relationship Id="rId9" Type="http://schemas.openxmlformats.org/officeDocument/2006/relationships/image" Target="../media/image42.png"/><Relationship Id="rId14" Type="http://schemas.openxmlformats.org/officeDocument/2006/relationships/image" Target="../media/image47.svg"/><Relationship Id="rId22" Type="http://schemas.openxmlformats.org/officeDocument/2006/relationships/image" Target="../media/image55.png"/><Relationship Id="rId27" Type="http://schemas.openxmlformats.org/officeDocument/2006/relationships/image" Target="../media/image60.png"/><Relationship Id="rId30" Type="http://schemas.openxmlformats.org/officeDocument/2006/relationships/image" Target="../media/image63.svg"/></Relationships>
</file>

<file path=ppt/slides/_rels/slide23.xml.rels><?xml version="1.0" encoding="UTF-8" standalone="yes"?>
<Relationships xmlns="http://schemas.openxmlformats.org/package/2006/relationships"><Relationship Id="rId26" Type="http://schemas.openxmlformats.org/officeDocument/2006/relationships/tags" Target="../tags/tag542.xml"/><Relationship Id="rId21" Type="http://schemas.openxmlformats.org/officeDocument/2006/relationships/tags" Target="../tags/tag537.xml"/><Relationship Id="rId42" Type="http://schemas.openxmlformats.org/officeDocument/2006/relationships/tags" Target="../tags/tag558.xml"/><Relationship Id="rId47" Type="http://schemas.openxmlformats.org/officeDocument/2006/relationships/tags" Target="../tags/tag563.xml"/><Relationship Id="rId63" Type="http://schemas.openxmlformats.org/officeDocument/2006/relationships/tags" Target="../tags/tag579.xml"/><Relationship Id="rId68" Type="http://schemas.openxmlformats.org/officeDocument/2006/relationships/tags" Target="../tags/tag584.xml"/><Relationship Id="rId84" Type="http://schemas.openxmlformats.org/officeDocument/2006/relationships/tags" Target="../tags/tag600.xml"/><Relationship Id="rId89" Type="http://schemas.openxmlformats.org/officeDocument/2006/relationships/slideLayout" Target="../slideLayouts/slideLayout20.xml"/><Relationship Id="rId16" Type="http://schemas.openxmlformats.org/officeDocument/2006/relationships/tags" Target="../tags/tag532.xml"/><Relationship Id="rId11" Type="http://schemas.openxmlformats.org/officeDocument/2006/relationships/tags" Target="../tags/tag527.xml"/><Relationship Id="rId32" Type="http://schemas.openxmlformats.org/officeDocument/2006/relationships/tags" Target="../tags/tag548.xml"/><Relationship Id="rId37" Type="http://schemas.openxmlformats.org/officeDocument/2006/relationships/tags" Target="../tags/tag553.xml"/><Relationship Id="rId53" Type="http://schemas.openxmlformats.org/officeDocument/2006/relationships/tags" Target="../tags/tag569.xml"/><Relationship Id="rId58" Type="http://schemas.openxmlformats.org/officeDocument/2006/relationships/tags" Target="../tags/tag574.xml"/><Relationship Id="rId74" Type="http://schemas.openxmlformats.org/officeDocument/2006/relationships/tags" Target="../tags/tag590.xml"/><Relationship Id="rId79" Type="http://schemas.openxmlformats.org/officeDocument/2006/relationships/tags" Target="../tags/tag595.xml"/><Relationship Id="rId5" Type="http://schemas.openxmlformats.org/officeDocument/2006/relationships/tags" Target="../tags/tag521.xml"/><Relationship Id="rId90" Type="http://schemas.openxmlformats.org/officeDocument/2006/relationships/notesSlide" Target="../notesSlides/notesSlide13.xml"/><Relationship Id="rId22" Type="http://schemas.openxmlformats.org/officeDocument/2006/relationships/tags" Target="../tags/tag538.xml"/><Relationship Id="rId27" Type="http://schemas.openxmlformats.org/officeDocument/2006/relationships/tags" Target="../tags/tag543.xml"/><Relationship Id="rId43" Type="http://schemas.openxmlformats.org/officeDocument/2006/relationships/tags" Target="../tags/tag559.xml"/><Relationship Id="rId48" Type="http://schemas.openxmlformats.org/officeDocument/2006/relationships/tags" Target="../tags/tag564.xml"/><Relationship Id="rId64" Type="http://schemas.openxmlformats.org/officeDocument/2006/relationships/tags" Target="../tags/tag580.xml"/><Relationship Id="rId69" Type="http://schemas.openxmlformats.org/officeDocument/2006/relationships/tags" Target="../tags/tag585.xml"/><Relationship Id="rId8" Type="http://schemas.openxmlformats.org/officeDocument/2006/relationships/tags" Target="../tags/tag524.xml"/><Relationship Id="rId51" Type="http://schemas.openxmlformats.org/officeDocument/2006/relationships/tags" Target="../tags/tag567.xml"/><Relationship Id="rId72" Type="http://schemas.openxmlformats.org/officeDocument/2006/relationships/tags" Target="../tags/tag588.xml"/><Relationship Id="rId80" Type="http://schemas.openxmlformats.org/officeDocument/2006/relationships/tags" Target="../tags/tag596.xml"/><Relationship Id="rId85" Type="http://schemas.openxmlformats.org/officeDocument/2006/relationships/tags" Target="../tags/tag601.xml"/><Relationship Id="rId93" Type="http://schemas.openxmlformats.org/officeDocument/2006/relationships/chart" Target="../charts/chart16.xml"/><Relationship Id="rId3" Type="http://schemas.openxmlformats.org/officeDocument/2006/relationships/tags" Target="../tags/tag519.xml"/><Relationship Id="rId12" Type="http://schemas.openxmlformats.org/officeDocument/2006/relationships/tags" Target="../tags/tag528.xml"/><Relationship Id="rId17" Type="http://schemas.openxmlformats.org/officeDocument/2006/relationships/tags" Target="../tags/tag533.xml"/><Relationship Id="rId25" Type="http://schemas.openxmlformats.org/officeDocument/2006/relationships/tags" Target="../tags/tag541.xml"/><Relationship Id="rId33" Type="http://schemas.openxmlformats.org/officeDocument/2006/relationships/tags" Target="../tags/tag549.xml"/><Relationship Id="rId38" Type="http://schemas.openxmlformats.org/officeDocument/2006/relationships/tags" Target="../tags/tag554.xml"/><Relationship Id="rId46" Type="http://schemas.openxmlformats.org/officeDocument/2006/relationships/tags" Target="../tags/tag562.xml"/><Relationship Id="rId59" Type="http://schemas.openxmlformats.org/officeDocument/2006/relationships/tags" Target="../tags/tag575.xml"/><Relationship Id="rId67" Type="http://schemas.openxmlformats.org/officeDocument/2006/relationships/tags" Target="../tags/tag583.xml"/><Relationship Id="rId20" Type="http://schemas.openxmlformats.org/officeDocument/2006/relationships/tags" Target="../tags/tag536.xml"/><Relationship Id="rId41" Type="http://schemas.openxmlformats.org/officeDocument/2006/relationships/tags" Target="../tags/tag557.xml"/><Relationship Id="rId54" Type="http://schemas.openxmlformats.org/officeDocument/2006/relationships/tags" Target="../tags/tag570.xml"/><Relationship Id="rId62" Type="http://schemas.openxmlformats.org/officeDocument/2006/relationships/tags" Target="../tags/tag578.xml"/><Relationship Id="rId70" Type="http://schemas.openxmlformats.org/officeDocument/2006/relationships/tags" Target="../tags/tag586.xml"/><Relationship Id="rId75" Type="http://schemas.openxmlformats.org/officeDocument/2006/relationships/tags" Target="../tags/tag591.xml"/><Relationship Id="rId83" Type="http://schemas.openxmlformats.org/officeDocument/2006/relationships/tags" Target="../tags/tag599.xml"/><Relationship Id="rId88" Type="http://schemas.openxmlformats.org/officeDocument/2006/relationships/tags" Target="../tags/tag604.xml"/><Relationship Id="rId91" Type="http://schemas.openxmlformats.org/officeDocument/2006/relationships/oleObject" Target="../embeddings/oleObject21.bin"/><Relationship Id="rId1" Type="http://schemas.openxmlformats.org/officeDocument/2006/relationships/vmlDrawing" Target="../drawings/vmlDrawing21.vml"/><Relationship Id="rId6" Type="http://schemas.openxmlformats.org/officeDocument/2006/relationships/tags" Target="../tags/tag522.xml"/><Relationship Id="rId15" Type="http://schemas.openxmlformats.org/officeDocument/2006/relationships/tags" Target="../tags/tag531.xml"/><Relationship Id="rId23" Type="http://schemas.openxmlformats.org/officeDocument/2006/relationships/tags" Target="../tags/tag539.xml"/><Relationship Id="rId28" Type="http://schemas.openxmlformats.org/officeDocument/2006/relationships/tags" Target="../tags/tag544.xml"/><Relationship Id="rId36" Type="http://schemas.openxmlformats.org/officeDocument/2006/relationships/tags" Target="../tags/tag552.xml"/><Relationship Id="rId49" Type="http://schemas.openxmlformats.org/officeDocument/2006/relationships/tags" Target="../tags/tag565.xml"/><Relationship Id="rId57" Type="http://schemas.openxmlformats.org/officeDocument/2006/relationships/tags" Target="../tags/tag573.xml"/><Relationship Id="rId10" Type="http://schemas.openxmlformats.org/officeDocument/2006/relationships/tags" Target="../tags/tag526.xml"/><Relationship Id="rId31" Type="http://schemas.openxmlformats.org/officeDocument/2006/relationships/tags" Target="../tags/tag547.xml"/><Relationship Id="rId44" Type="http://schemas.openxmlformats.org/officeDocument/2006/relationships/tags" Target="../tags/tag560.xml"/><Relationship Id="rId52" Type="http://schemas.openxmlformats.org/officeDocument/2006/relationships/tags" Target="../tags/tag568.xml"/><Relationship Id="rId60" Type="http://schemas.openxmlformats.org/officeDocument/2006/relationships/tags" Target="../tags/tag576.xml"/><Relationship Id="rId65" Type="http://schemas.openxmlformats.org/officeDocument/2006/relationships/tags" Target="../tags/tag581.xml"/><Relationship Id="rId73" Type="http://schemas.openxmlformats.org/officeDocument/2006/relationships/tags" Target="../tags/tag589.xml"/><Relationship Id="rId78" Type="http://schemas.openxmlformats.org/officeDocument/2006/relationships/tags" Target="../tags/tag594.xml"/><Relationship Id="rId81" Type="http://schemas.openxmlformats.org/officeDocument/2006/relationships/tags" Target="../tags/tag597.xml"/><Relationship Id="rId86" Type="http://schemas.openxmlformats.org/officeDocument/2006/relationships/tags" Target="../tags/tag602.xml"/><Relationship Id="rId4" Type="http://schemas.openxmlformats.org/officeDocument/2006/relationships/tags" Target="../tags/tag520.xml"/><Relationship Id="rId9" Type="http://schemas.openxmlformats.org/officeDocument/2006/relationships/tags" Target="../tags/tag525.xml"/><Relationship Id="rId13" Type="http://schemas.openxmlformats.org/officeDocument/2006/relationships/tags" Target="../tags/tag529.xml"/><Relationship Id="rId18" Type="http://schemas.openxmlformats.org/officeDocument/2006/relationships/tags" Target="../tags/tag534.xml"/><Relationship Id="rId39" Type="http://schemas.openxmlformats.org/officeDocument/2006/relationships/tags" Target="../tags/tag555.xml"/><Relationship Id="rId34" Type="http://schemas.openxmlformats.org/officeDocument/2006/relationships/tags" Target="../tags/tag550.xml"/><Relationship Id="rId50" Type="http://schemas.openxmlformats.org/officeDocument/2006/relationships/tags" Target="../tags/tag566.xml"/><Relationship Id="rId55" Type="http://schemas.openxmlformats.org/officeDocument/2006/relationships/tags" Target="../tags/tag571.xml"/><Relationship Id="rId76" Type="http://schemas.openxmlformats.org/officeDocument/2006/relationships/tags" Target="../tags/tag592.xml"/><Relationship Id="rId7" Type="http://schemas.openxmlformats.org/officeDocument/2006/relationships/tags" Target="../tags/tag523.xml"/><Relationship Id="rId71" Type="http://schemas.openxmlformats.org/officeDocument/2006/relationships/tags" Target="../tags/tag587.xml"/><Relationship Id="rId92" Type="http://schemas.openxmlformats.org/officeDocument/2006/relationships/image" Target="../media/image10.emf"/><Relationship Id="rId2" Type="http://schemas.openxmlformats.org/officeDocument/2006/relationships/tags" Target="../tags/tag518.xml"/><Relationship Id="rId29" Type="http://schemas.openxmlformats.org/officeDocument/2006/relationships/tags" Target="../tags/tag545.xml"/><Relationship Id="rId24" Type="http://schemas.openxmlformats.org/officeDocument/2006/relationships/tags" Target="../tags/tag540.xml"/><Relationship Id="rId40" Type="http://schemas.openxmlformats.org/officeDocument/2006/relationships/tags" Target="../tags/tag556.xml"/><Relationship Id="rId45" Type="http://schemas.openxmlformats.org/officeDocument/2006/relationships/tags" Target="../tags/tag561.xml"/><Relationship Id="rId66" Type="http://schemas.openxmlformats.org/officeDocument/2006/relationships/tags" Target="../tags/tag582.xml"/><Relationship Id="rId87" Type="http://schemas.openxmlformats.org/officeDocument/2006/relationships/tags" Target="../tags/tag603.xml"/><Relationship Id="rId61" Type="http://schemas.openxmlformats.org/officeDocument/2006/relationships/tags" Target="../tags/tag577.xml"/><Relationship Id="rId82" Type="http://schemas.openxmlformats.org/officeDocument/2006/relationships/tags" Target="../tags/tag598.xml"/><Relationship Id="rId19" Type="http://schemas.openxmlformats.org/officeDocument/2006/relationships/tags" Target="../tags/tag535.xml"/><Relationship Id="rId14" Type="http://schemas.openxmlformats.org/officeDocument/2006/relationships/tags" Target="../tags/tag530.xml"/><Relationship Id="rId30" Type="http://schemas.openxmlformats.org/officeDocument/2006/relationships/tags" Target="../tags/tag546.xml"/><Relationship Id="rId35" Type="http://schemas.openxmlformats.org/officeDocument/2006/relationships/tags" Target="../tags/tag551.xml"/><Relationship Id="rId56" Type="http://schemas.openxmlformats.org/officeDocument/2006/relationships/tags" Target="../tags/tag572.xml"/><Relationship Id="rId77" Type="http://schemas.openxmlformats.org/officeDocument/2006/relationships/tags" Target="../tags/tag593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629.xml"/><Relationship Id="rId21" Type="http://schemas.openxmlformats.org/officeDocument/2006/relationships/tags" Target="../tags/tag624.xml"/><Relationship Id="rId42" Type="http://schemas.openxmlformats.org/officeDocument/2006/relationships/tags" Target="../tags/tag645.xml"/><Relationship Id="rId47" Type="http://schemas.openxmlformats.org/officeDocument/2006/relationships/tags" Target="../tags/tag650.xml"/><Relationship Id="rId63" Type="http://schemas.openxmlformats.org/officeDocument/2006/relationships/tags" Target="../tags/tag666.xml"/><Relationship Id="rId68" Type="http://schemas.openxmlformats.org/officeDocument/2006/relationships/tags" Target="../tags/tag671.xml"/><Relationship Id="rId84" Type="http://schemas.openxmlformats.org/officeDocument/2006/relationships/tags" Target="../tags/tag687.xml"/><Relationship Id="rId89" Type="http://schemas.openxmlformats.org/officeDocument/2006/relationships/tags" Target="../tags/tag692.xml"/><Relationship Id="rId16" Type="http://schemas.openxmlformats.org/officeDocument/2006/relationships/tags" Target="../tags/tag619.xml"/><Relationship Id="rId11" Type="http://schemas.openxmlformats.org/officeDocument/2006/relationships/tags" Target="../tags/tag614.xml"/><Relationship Id="rId32" Type="http://schemas.openxmlformats.org/officeDocument/2006/relationships/tags" Target="../tags/tag635.xml"/><Relationship Id="rId37" Type="http://schemas.openxmlformats.org/officeDocument/2006/relationships/tags" Target="../tags/tag640.xml"/><Relationship Id="rId53" Type="http://schemas.openxmlformats.org/officeDocument/2006/relationships/tags" Target="../tags/tag656.xml"/><Relationship Id="rId58" Type="http://schemas.openxmlformats.org/officeDocument/2006/relationships/tags" Target="../tags/tag661.xml"/><Relationship Id="rId74" Type="http://schemas.openxmlformats.org/officeDocument/2006/relationships/tags" Target="../tags/tag677.xml"/><Relationship Id="rId79" Type="http://schemas.openxmlformats.org/officeDocument/2006/relationships/tags" Target="../tags/tag682.xml"/><Relationship Id="rId5" Type="http://schemas.openxmlformats.org/officeDocument/2006/relationships/tags" Target="../tags/tag608.xml"/><Relationship Id="rId90" Type="http://schemas.openxmlformats.org/officeDocument/2006/relationships/tags" Target="../tags/tag693.xml"/><Relationship Id="rId95" Type="http://schemas.openxmlformats.org/officeDocument/2006/relationships/notesSlide" Target="../notesSlides/notesSlide14.xml"/><Relationship Id="rId22" Type="http://schemas.openxmlformats.org/officeDocument/2006/relationships/tags" Target="../tags/tag625.xml"/><Relationship Id="rId27" Type="http://schemas.openxmlformats.org/officeDocument/2006/relationships/tags" Target="../tags/tag630.xml"/><Relationship Id="rId43" Type="http://schemas.openxmlformats.org/officeDocument/2006/relationships/tags" Target="../tags/tag646.xml"/><Relationship Id="rId48" Type="http://schemas.openxmlformats.org/officeDocument/2006/relationships/tags" Target="../tags/tag651.xml"/><Relationship Id="rId64" Type="http://schemas.openxmlformats.org/officeDocument/2006/relationships/tags" Target="../tags/tag667.xml"/><Relationship Id="rId69" Type="http://schemas.openxmlformats.org/officeDocument/2006/relationships/tags" Target="../tags/tag672.xml"/><Relationship Id="rId80" Type="http://schemas.openxmlformats.org/officeDocument/2006/relationships/tags" Target="../tags/tag683.xml"/><Relationship Id="rId85" Type="http://schemas.openxmlformats.org/officeDocument/2006/relationships/tags" Target="../tags/tag688.xml"/><Relationship Id="rId3" Type="http://schemas.openxmlformats.org/officeDocument/2006/relationships/tags" Target="../tags/tag606.xml"/><Relationship Id="rId12" Type="http://schemas.openxmlformats.org/officeDocument/2006/relationships/tags" Target="../tags/tag615.xml"/><Relationship Id="rId17" Type="http://schemas.openxmlformats.org/officeDocument/2006/relationships/tags" Target="../tags/tag620.xml"/><Relationship Id="rId25" Type="http://schemas.openxmlformats.org/officeDocument/2006/relationships/tags" Target="../tags/tag628.xml"/><Relationship Id="rId33" Type="http://schemas.openxmlformats.org/officeDocument/2006/relationships/tags" Target="../tags/tag636.xml"/><Relationship Id="rId38" Type="http://schemas.openxmlformats.org/officeDocument/2006/relationships/tags" Target="../tags/tag641.xml"/><Relationship Id="rId46" Type="http://schemas.openxmlformats.org/officeDocument/2006/relationships/tags" Target="../tags/tag649.xml"/><Relationship Id="rId59" Type="http://schemas.openxmlformats.org/officeDocument/2006/relationships/tags" Target="../tags/tag662.xml"/><Relationship Id="rId67" Type="http://schemas.openxmlformats.org/officeDocument/2006/relationships/tags" Target="../tags/tag670.xml"/><Relationship Id="rId20" Type="http://schemas.openxmlformats.org/officeDocument/2006/relationships/tags" Target="../tags/tag623.xml"/><Relationship Id="rId41" Type="http://schemas.openxmlformats.org/officeDocument/2006/relationships/tags" Target="../tags/tag644.xml"/><Relationship Id="rId54" Type="http://schemas.openxmlformats.org/officeDocument/2006/relationships/tags" Target="../tags/tag657.xml"/><Relationship Id="rId62" Type="http://schemas.openxmlformats.org/officeDocument/2006/relationships/tags" Target="../tags/tag665.xml"/><Relationship Id="rId70" Type="http://schemas.openxmlformats.org/officeDocument/2006/relationships/tags" Target="../tags/tag673.xml"/><Relationship Id="rId75" Type="http://schemas.openxmlformats.org/officeDocument/2006/relationships/tags" Target="../tags/tag678.xml"/><Relationship Id="rId83" Type="http://schemas.openxmlformats.org/officeDocument/2006/relationships/tags" Target="../tags/tag686.xml"/><Relationship Id="rId88" Type="http://schemas.openxmlformats.org/officeDocument/2006/relationships/tags" Target="../tags/tag691.xml"/><Relationship Id="rId91" Type="http://schemas.openxmlformats.org/officeDocument/2006/relationships/tags" Target="../tags/tag694.xml"/><Relationship Id="rId9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609.xml"/><Relationship Id="rId15" Type="http://schemas.openxmlformats.org/officeDocument/2006/relationships/tags" Target="../tags/tag618.xml"/><Relationship Id="rId23" Type="http://schemas.openxmlformats.org/officeDocument/2006/relationships/tags" Target="../tags/tag626.xml"/><Relationship Id="rId28" Type="http://schemas.openxmlformats.org/officeDocument/2006/relationships/tags" Target="../tags/tag631.xml"/><Relationship Id="rId36" Type="http://schemas.openxmlformats.org/officeDocument/2006/relationships/tags" Target="../tags/tag639.xml"/><Relationship Id="rId49" Type="http://schemas.openxmlformats.org/officeDocument/2006/relationships/tags" Target="../tags/tag652.xml"/><Relationship Id="rId57" Type="http://schemas.openxmlformats.org/officeDocument/2006/relationships/tags" Target="../tags/tag660.xml"/><Relationship Id="rId10" Type="http://schemas.openxmlformats.org/officeDocument/2006/relationships/tags" Target="../tags/tag613.xml"/><Relationship Id="rId31" Type="http://schemas.openxmlformats.org/officeDocument/2006/relationships/tags" Target="../tags/tag634.xml"/><Relationship Id="rId44" Type="http://schemas.openxmlformats.org/officeDocument/2006/relationships/tags" Target="../tags/tag647.xml"/><Relationship Id="rId52" Type="http://schemas.openxmlformats.org/officeDocument/2006/relationships/tags" Target="../tags/tag655.xml"/><Relationship Id="rId60" Type="http://schemas.openxmlformats.org/officeDocument/2006/relationships/tags" Target="../tags/tag663.xml"/><Relationship Id="rId65" Type="http://schemas.openxmlformats.org/officeDocument/2006/relationships/tags" Target="../tags/tag668.xml"/><Relationship Id="rId73" Type="http://schemas.openxmlformats.org/officeDocument/2006/relationships/tags" Target="../tags/tag676.xml"/><Relationship Id="rId78" Type="http://schemas.openxmlformats.org/officeDocument/2006/relationships/tags" Target="../tags/tag681.xml"/><Relationship Id="rId81" Type="http://schemas.openxmlformats.org/officeDocument/2006/relationships/tags" Target="../tags/tag684.xml"/><Relationship Id="rId86" Type="http://schemas.openxmlformats.org/officeDocument/2006/relationships/tags" Target="../tags/tag689.xml"/><Relationship Id="rId94" Type="http://schemas.openxmlformats.org/officeDocument/2006/relationships/slideLayout" Target="../slideLayouts/slideLayout20.xml"/><Relationship Id="rId4" Type="http://schemas.openxmlformats.org/officeDocument/2006/relationships/tags" Target="../tags/tag607.xml"/><Relationship Id="rId9" Type="http://schemas.openxmlformats.org/officeDocument/2006/relationships/tags" Target="../tags/tag612.xml"/><Relationship Id="rId13" Type="http://schemas.openxmlformats.org/officeDocument/2006/relationships/tags" Target="../tags/tag616.xml"/><Relationship Id="rId18" Type="http://schemas.openxmlformats.org/officeDocument/2006/relationships/tags" Target="../tags/tag621.xml"/><Relationship Id="rId39" Type="http://schemas.openxmlformats.org/officeDocument/2006/relationships/tags" Target="../tags/tag642.xml"/><Relationship Id="rId34" Type="http://schemas.openxmlformats.org/officeDocument/2006/relationships/tags" Target="../tags/tag637.xml"/><Relationship Id="rId50" Type="http://schemas.openxmlformats.org/officeDocument/2006/relationships/tags" Target="../tags/tag653.xml"/><Relationship Id="rId55" Type="http://schemas.openxmlformats.org/officeDocument/2006/relationships/tags" Target="../tags/tag658.xml"/><Relationship Id="rId76" Type="http://schemas.openxmlformats.org/officeDocument/2006/relationships/tags" Target="../tags/tag679.xml"/><Relationship Id="rId97" Type="http://schemas.openxmlformats.org/officeDocument/2006/relationships/image" Target="../media/image10.emf"/><Relationship Id="rId7" Type="http://schemas.openxmlformats.org/officeDocument/2006/relationships/tags" Target="../tags/tag610.xml"/><Relationship Id="rId71" Type="http://schemas.openxmlformats.org/officeDocument/2006/relationships/tags" Target="../tags/tag674.xml"/><Relationship Id="rId92" Type="http://schemas.openxmlformats.org/officeDocument/2006/relationships/tags" Target="../tags/tag695.xml"/><Relationship Id="rId2" Type="http://schemas.openxmlformats.org/officeDocument/2006/relationships/tags" Target="../tags/tag605.xml"/><Relationship Id="rId29" Type="http://schemas.openxmlformats.org/officeDocument/2006/relationships/tags" Target="../tags/tag632.xml"/><Relationship Id="rId24" Type="http://schemas.openxmlformats.org/officeDocument/2006/relationships/tags" Target="../tags/tag627.xml"/><Relationship Id="rId40" Type="http://schemas.openxmlformats.org/officeDocument/2006/relationships/tags" Target="../tags/tag643.xml"/><Relationship Id="rId45" Type="http://schemas.openxmlformats.org/officeDocument/2006/relationships/tags" Target="../tags/tag648.xml"/><Relationship Id="rId66" Type="http://schemas.openxmlformats.org/officeDocument/2006/relationships/tags" Target="../tags/tag669.xml"/><Relationship Id="rId87" Type="http://schemas.openxmlformats.org/officeDocument/2006/relationships/tags" Target="../tags/tag690.xml"/><Relationship Id="rId61" Type="http://schemas.openxmlformats.org/officeDocument/2006/relationships/tags" Target="../tags/tag664.xml"/><Relationship Id="rId82" Type="http://schemas.openxmlformats.org/officeDocument/2006/relationships/tags" Target="../tags/tag685.xml"/><Relationship Id="rId19" Type="http://schemas.openxmlformats.org/officeDocument/2006/relationships/tags" Target="../tags/tag622.xml"/><Relationship Id="rId14" Type="http://schemas.openxmlformats.org/officeDocument/2006/relationships/tags" Target="../tags/tag617.xml"/><Relationship Id="rId30" Type="http://schemas.openxmlformats.org/officeDocument/2006/relationships/tags" Target="../tags/tag633.xml"/><Relationship Id="rId35" Type="http://schemas.openxmlformats.org/officeDocument/2006/relationships/tags" Target="../tags/tag638.xml"/><Relationship Id="rId56" Type="http://schemas.openxmlformats.org/officeDocument/2006/relationships/tags" Target="../tags/tag659.xml"/><Relationship Id="rId77" Type="http://schemas.openxmlformats.org/officeDocument/2006/relationships/tags" Target="../tags/tag680.xml"/><Relationship Id="rId8" Type="http://schemas.openxmlformats.org/officeDocument/2006/relationships/tags" Target="../tags/tag611.xml"/><Relationship Id="rId51" Type="http://schemas.openxmlformats.org/officeDocument/2006/relationships/tags" Target="../tags/tag654.xml"/><Relationship Id="rId72" Type="http://schemas.openxmlformats.org/officeDocument/2006/relationships/tags" Target="../tags/tag675.xml"/><Relationship Id="rId93" Type="http://schemas.openxmlformats.org/officeDocument/2006/relationships/tags" Target="../tags/tag696.xml"/><Relationship Id="rId98" Type="http://schemas.openxmlformats.org/officeDocument/2006/relationships/chart" Target="../charts/chart17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708.xml"/><Relationship Id="rId18" Type="http://schemas.openxmlformats.org/officeDocument/2006/relationships/tags" Target="../tags/tag713.xml"/><Relationship Id="rId26" Type="http://schemas.openxmlformats.org/officeDocument/2006/relationships/tags" Target="../tags/tag721.xml"/><Relationship Id="rId39" Type="http://schemas.openxmlformats.org/officeDocument/2006/relationships/tags" Target="../tags/tag734.xml"/><Relationship Id="rId21" Type="http://schemas.openxmlformats.org/officeDocument/2006/relationships/tags" Target="../tags/tag716.xml"/><Relationship Id="rId34" Type="http://schemas.openxmlformats.org/officeDocument/2006/relationships/tags" Target="../tags/tag729.xml"/><Relationship Id="rId42" Type="http://schemas.openxmlformats.org/officeDocument/2006/relationships/tags" Target="../tags/tag737.xml"/><Relationship Id="rId47" Type="http://schemas.openxmlformats.org/officeDocument/2006/relationships/tags" Target="../tags/tag742.xml"/><Relationship Id="rId50" Type="http://schemas.openxmlformats.org/officeDocument/2006/relationships/tags" Target="../tags/tag745.xml"/><Relationship Id="rId55" Type="http://schemas.openxmlformats.org/officeDocument/2006/relationships/tags" Target="../tags/tag750.xml"/><Relationship Id="rId63" Type="http://schemas.openxmlformats.org/officeDocument/2006/relationships/chart" Target="../charts/chart18.xml"/><Relationship Id="rId7" Type="http://schemas.openxmlformats.org/officeDocument/2006/relationships/tags" Target="../tags/tag702.xml"/><Relationship Id="rId2" Type="http://schemas.openxmlformats.org/officeDocument/2006/relationships/tags" Target="../tags/tag697.xml"/><Relationship Id="rId16" Type="http://schemas.openxmlformats.org/officeDocument/2006/relationships/tags" Target="../tags/tag711.xml"/><Relationship Id="rId29" Type="http://schemas.openxmlformats.org/officeDocument/2006/relationships/tags" Target="../tags/tag724.xml"/><Relationship Id="rId11" Type="http://schemas.openxmlformats.org/officeDocument/2006/relationships/tags" Target="../tags/tag706.xml"/><Relationship Id="rId24" Type="http://schemas.openxmlformats.org/officeDocument/2006/relationships/tags" Target="../tags/tag719.xml"/><Relationship Id="rId32" Type="http://schemas.openxmlformats.org/officeDocument/2006/relationships/tags" Target="../tags/tag727.xml"/><Relationship Id="rId37" Type="http://schemas.openxmlformats.org/officeDocument/2006/relationships/tags" Target="../tags/tag732.xml"/><Relationship Id="rId40" Type="http://schemas.openxmlformats.org/officeDocument/2006/relationships/tags" Target="../tags/tag735.xml"/><Relationship Id="rId45" Type="http://schemas.openxmlformats.org/officeDocument/2006/relationships/tags" Target="../tags/tag740.xml"/><Relationship Id="rId53" Type="http://schemas.openxmlformats.org/officeDocument/2006/relationships/tags" Target="../tags/tag748.xml"/><Relationship Id="rId58" Type="http://schemas.openxmlformats.org/officeDocument/2006/relationships/tags" Target="../tags/tag753.xml"/><Relationship Id="rId5" Type="http://schemas.openxmlformats.org/officeDocument/2006/relationships/tags" Target="../tags/tag700.xml"/><Relationship Id="rId61" Type="http://schemas.openxmlformats.org/officeDocument/2006/relationships/oleObject" Target="../embeddings/oleObject23.bin"/><Relationship Id="rId19" Type="http://schemas.openxmlformats.org/officeDocument/2006/relationships/tags" Target="../tags/tag714.xml"/><Relationship Id="rId14" Type="http://schemas.openxmlformats.org/officeDocument/2006/relationships/tags" Target="../tags/tag709.xml"/><Relationship Id="rId22" Type="http://schemas.openxmlformats.org/officeDocument/2006/relationships/tags" Target="../tags/tag717.xml"/><Relationship Id="rId27" Type="http://schemas.openxmlformats.org/officeDocument/2006/relationships/tags" Target="../tags/tag722.xml"/><Relationship Id="rId30" Type="http://schemas.openxmlformats.org/officeDocument/2006/relationships/tags" Target="../tags/tag725.xml"/><Relationship Id="rId35" Type="http://schemas.openxmlformats.org/officeDocument/2006/relationships/tags" Target="../tags/tag730.xml"/><Relationship Id="rId43" Type="http://schemas.openxmlformats.org/officeDocument/2006/relationships/tags" Target="../tags/tag738.xml"/><Relationship Id="rId48" Type="http://schemas.openxmlformats.org/officeDocument/2006/relationships/tags" Target="../tags/tag743.xml"/><Relationship Id="rId56" Type="http://schemas.openxmlformats.org/officeDocument/2006/relationships/tags" Target="../tags/tag751.xml"/><Relationship Id="rId64" Type="http://schemas.openxmlformats.org/officeDocument/2006/relationships/chart" Target="../charts/chart19.xml"/><Relationship Id="rId8" Type="http://schemas.openxmlformats.org/officeDocument/2006/relationships/tags" Target="../tags/tag703.xml"/><Relationship Id="rId51" Type="http://schemas.openxmlformats.org/officeDocument/2006/relationships/tags" Target="../tags/tag746.xml"/><Relationship Id="rId3" Type="http://schemas.openxmlformats.org/officeDocument/2006/relationships/tags" Target="../tags/tag698.xml"/><Relationship Id="rId12" Type="http://schemas.openxmlformats.org/officeDocument/2006/relationships/tags" Target="../tags/tag707.xml"/><Relationship Id="rId17" Type="http://schemas.openxmlformats.org/officeDocument/2006/relationships/tags" Target="../tags/tag712.xml"/><Relationship Id="rId25" Type="http://schemas.openxmlformats.org/officeDocument/2006/relationships/tags" Target="../tags/tag720.xml"/><Relationship Id="rId33" Type="http://schemas.openxmlformats.org/officeDocument/2006/relationships/tags" Target="../tags/tag728.xml"/><Relationship Id="rId38" Type="http://schemas.openxmlformats.org/officeDocument/2006/relationships/tags" Target="../tags/tag733.xml"/><Relationship Id="rId46" Type="http://schemas.openxmlformats.org/officeDocument/2006/relationships/tags" Target="../tags/tag741.xml"/><Relationship Id="rId59" Type="http://schemas.openxmlformats.org/officeDocument/2006/relationships/slideLayout" Target="../slideLayouts/slideLayout20.xml"/><Relationship Id="rId20" Type="http://schemas.openxmlformats.org/officeDocument/2006/relationships/tags" Target="../tags/tag715.xml"/><Relationship Id="rId41" Type="http://schemas.openxmlformats.org/officeDocument/2006/relationships/tags" Target="../tags/tag736.xml"/><Relationship Id="rId54" Type="http://schemas.openxmlformats.org/officeDocument/2006/relationships/tags" Target="../tags/tag749.xml"/><Relationship Id="rId62" Type="http://schemas.openxmlformats.org/officeDocument/2006/relationships/image" Target="../media/image10.emf"/><Relationship Id="rId1" Type="http://schemas.openxmlformats.org/officeDocument/2006/relationships/vmlDrawing" Target="../drawings/vmlDrawing23.vml"/><Relationship Id="rId6" Type="http://schemas.openxmlformats.org/officeDocument/2006/relationships/tags" Target="../tags/tag701.xml"/><Relationship Id="rId15" Type="http://schemas.openxmlformats.org/officeDocument/2006/relationships/tags" Target="../tags/tag710.xml"/><Relationship Id="rId23" Type="http://schemas.openxmlformats.org/officeDocument/2006/relationships/tags" Target="../tags/tag718.xml"/><Relationship Id="rId28" Type="http://schemas.openxmlformats.org/officeDocument/2006/relationships/tags" Target="../tags/tag723.xml"/><Relationship Id="rId36" Type="http://schemas.openxmlformats.org/officeDocument/2006/relationships/tags" Target="../tags/tag731.xml"/><Relationship Id="rId49" Type="http://schemas.openxmlformats.org/officeDocument/2006/relationships/tags" Target="../tags/tag744.xml"/><Relationship Id="rId57" Type="http://schemas.openxmlformats.org/officeDocument/2006/relationships/tags" Target="../tags/tag752.xml"/><Relationship Id="rId10" Type="http://schemas.openxmlformats.org/officeDocument/2006/relationships/tags" Target="../tags/tag705.xml"/><Relationship Id="rId31" Type="http://schemas.openxmlformats.org/officeDocument/2006/relationships/tags" Target="../tags/tag726.xml"/><Relationship Id="rId44" Type="http://schemas.openxmlformats.org/officeDocument/2006/relationships/tags" Target="../tags/tag739.xml"/><Relationship Id="rId52" Type="http://schemas.openxmlformats.org/officeDocument/2006/relationships/tags" Target="../tags/tag747.xml"/><Relationship Id="rId60" Type="http://schemas.openxmlformats.org/officeDocument/2006/relationships/notesSlide" Target="../notesSlides/notesSlide15.xml"/><Relationship Id="rId4" Type="http://schemas.openxmlformats.org/officeDocument/2006/relationships/tags" Target="../tags/tag699.xml"/><Relationship Id="rId9" Type="http://schemas.openxmlformats.org/officeDocument/2006/relationships/tags" Target="../tags/tag70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64.png"/><Relationship Id="rId3" Type="http://schemas.openxmlformats.org/officeDocument/2006/relationships/tags" Target="../tags/tag755.xml"/><Relationship Id="rId7" Type="http://schemas.openxmlformats.org/officeDocument/2006/relationships/tags" Target="../tags/tag759.xml"/><Relationship Id="rId12" Type="http://schemas.openxmlformats.org/officeDocument/2006/relationships/chart" Target="../charts/chart20.xml"/><Relationship Id="rId2" Type="http://schemas.openxmlformats.org/officeDocument/2006/relationships/tags" Target="../tags/tag754.xml"/><Relationship Id="rId1" Type="http://schemas.openxmlformats.org/officeDocument/2006/relationships/vmlDrawing" Target="../drawings/vmlDrawing24.vml"/><Relationship Id="rId6" Type="http://schemas.openxmlformats.org/officeDocument/2006/relationships/tags" Target="../tags/tag758.xml"/><Relationship Id="rId11" Type="http://schemas.openxmlformats.org/officeDocument/2006/relationships/image" Target="../media/image10.emf"/><Relationship Id="rId5" Type="http://schemas.openxmlformats.org/officeDocument/2006/relationships/tags" Target="../tags/tag757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756.xml"/><Relationship Id="rId9" Type="http://schemas.openxmlformats.org/officeDocument/2006/relationships/notesSlide" Target="../notesSlides/notesSlide16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771.xml"/><Relationship Id="rId18" Type="http://schemas.openxmlformats.org/officeDocument/2006/relationships/tags" Target="../tags/tag776.xml"/><Relationship Id="rId26" Type="http://schemas.openxmlformats.org/officeDocument/2006/relationships/tags" Target="../tags/tag784.xml"/><Relationship Id="rId39" Type="http://schemas.openxmlformats.org/officeDocument/2006/relationships/tags" Target="../tags/tag797.xml"/><Relationship Id="rId21" Type="http://schemas.openxmlformats.org/officeDocument/2006/relationships/tags" Target="../tags/tag779.xml"/><Relationship Id="rId34" Type="http://schemas.openxmlformats.org/officeDocument/2006/relationships/tags" Target="../tags/tag792.xml"/><Relationship Id="rId42" Type="http://schemas.openxmlformats.org/officeDocument/2006/relationships/tags" Target="../tags/tag800.xml"/><Relationship Id="rId47" Type="http://schemas.openxmlformats.org/officeDocument/2006/relationships/tags" Target="../tags/tag805.xml"/><Relationship Id="rId50" Type="http://schemas.openxmlformats.org/officeDocument/2006/relationships/tags" Target="../tags/tag808.xml"/><Relationship Id="rId55" Type="http://schemas.openxmlformats.org/officeDocument/2006/relationships/tags" Target="../tags/tag813.xml"/><Relationship Id="rId7" Type="http://schemas.openxmlformats.org/officeDocument/2006/relationships/tags" Target="../tags/tag765.xml"/><Relationship Id="rId2" Type="http://schemas.openxmlformats.org/officeDocument/2006/relationships/tags" Target="../tags/tag760.xml"/><Relationship Id="rId16" Type="http://schemas.openxmlformats.org/officeDocument/2006/relationships/tags" Target="../tags/tag774.xml"/><Relationship Id="rId29" Type="http://schemas.openxmlformats.org/officeDocument/2006/relationships/tags" Target="../tags/tag787.xml"/><Relationship Id="rId11" Type="http://schemas.openxmlformats.org/officeDocument/2006/relationships/tags" Target="../tags/tag769.xml"/><Relationship Id="rId24" Type="http://schemas.openxmlformats.org/officeDocument/2006/relationships/tags" Target="../tags/tag782.xml"/><Relationship Id="rId32" Type="http://schemas.openxmlformats.org/officeDocument/2006/relationships/tags" Target="../tags/tag790.xml"/><Relationship Id="rId37" Type="http://schemas.openxmlformats.org/officeDocument/2006/relationships/tags" Target="../tags/tag795.xml"/><Relationship Id="rId40" Type="http://schemas.openxmlformats.org/officeDocument/2006/relationships/tags" Target="../tags/tag798.xml"/><Relationship Id="rId45" Type="http://schemas.openxmlformats.org/officeDocument/2006/relationships/tags" Target="../tags/tag803.xml"/><Relationship Id="rId53" Type="http://schemas.openxmlformats.org/officeDocument/2006/relationships/tags" Target="../tags/tag811.xml"/><Relationship Id="rId58" Type="http://schemas.openxmlformats.org/officeDocument/2006/relationships/oleObject" Target="../embeddings/oleObject25.bin"/><Relationship Id="rId5" Type="http://schemas.openxmlformats.org/officeDocument/2006/relationships/tags" Target="../tags/tag763.xml"/><Relationship Id="rId19" Type="http://schemas.openxmlformats.org/officeDocument/2006/relationships/tags" Target="../tags/tag777.xml"/><Relationship Id="rId4" Type="http://schemas.openxmlformats.org/officeDocument/2006/relationships/tags" Target="../tags/tag762.xml"/><Relationship Id="rId9" Type="http://schemas.openxmlformats.org/officeDocument/2006/relationships/tags" Target="../tags/tag767.xml"/><Relationship Id="rId14" Type="http://schemas.openxmlformats.org/officeDocument/2006/relationships/tags" Target="../tags/tag772.xml"/><Relationship Id="rId22" Type="http://schemas.openxmlformats.org/officeDocument/2006/relationships/tags" Target="../tags/tag780.xml"/><Relationship Id="rId27" Type="http://schemas.openxmlformats.org/officeDocument/2006/relationships/tags" Target="../tags/tag785.xml"/><Relationship Id="rId30" Type="http://schemas.openxmlformats.org/officeDocument/2006/relationships/tags" Target="../tags/tag788.xml"/><Relationship Id="rId35" Type="http://schemas.openxmlformats.org/officeDocument/2006/relationships/tags" Target="../tags/tag793.xml"/><Relationship Id="rId43" Type="http://schemas.openxmlformats.org/officeDocument/2006/relationships/tags" Target="../tags/tag801.xml"/><Relationship Id="rId48" Type="http://schemas.openxmlformats.org/officeDocument/2006/relationships/tags" Target="../tags/tag806.xml"/><Relationship Id="rId56" Type="http://schemas.openxmlformats.org/officeDocument/2006/relationships/slideLayout" Target="../slideLayouts/slideLayout20.xml"/><Relationship Id="rId8" Type="http://schemas.openxmlformats.org/officeDocument/2006/relationships/tags" Target="../tags/tag766.xml"/><Relationship Id="rId51" Type="http://schemas.openxmlformats.org/officeDocument/2006/relationships/tags" Target="../tags/tag809.xml"/><Relationship Id="rId3" Type="http://schemas.openxmlformats.org/officeDocument/2006/relationships/tags" Target="../tags/tag761.xml"/><Relationship Id="rId12" Type="http://schemas.openxmlformats.org/officeDocument/2006/relationships/tags" Target="../tags/tag770.xml"/><Relationship Id="rId17" Type="http://schemas.openxmlformats.org/officeDocument/2006/relationships/tags" Target="../tags/tag775.xml"/><Relationship Id="rId25" Type="http://schemas.openxmlformats.org/officeDocument/2006/relationships/tags" Target="../tags/tag783.xml"/><Relationship Id="rId33" Type="http://schemas.openxmlformats.org/officeDocument/2006/relationships/tags" Target="../tags/tag791.xml"/><Relationship Id="rId38" Type="http://schemas.openxmlformats.org/officeDocument/2006/relationships/tags" Target="../tags/tag796.xml"/><Relationship Id="rId46" Type="http://schemas.openxmlformats.org/officeDocument/2006/relationships/tags" Target="../tags/tag804.xml"/><Relationship Id="rId59" Type="http://schemas.openxmlformats.org/officeDocument/2006/relationships/image" Target="../media/image10.emf"/><Relationship Id="rId20" Type="http://schemas.openxmlformats.org/officeDocument/2006/relationships/tags" Target="../tags/tag778.xml"/><Relationship Id="rId41" Type="http://schemas.openxmlformats.org/officeDocument/2006/relationships/tags" Target="../tags/tag799.xml"/><Relationship Id="rId54" Type="http://schemas.openxmlformats.org/officeDocument/2006/relationships/tags" Target="../tags/tag812.xml"/><Relationship Id="rId1" Type="http://schemas.openxmlformats.org/officeDocument/2006/relationships/vmlDrawing" Target="../drawings/vmlDrawing25.vml"/><Relationship Id="rId6" Type="http://schemas.openxmlformats.org/officeDocument/2006/relationships/tags" Target="../tags/tag764.xml"/><Relationship Id="rId15" Type="http://schemas.openxmlformats.org/officeDocument/2006/relationships/tags" Target="../tags/tag773.xml"/><Relationship Id="rId23" Type="http://schemas.openxmlformats.org/officeDocument/2006/relationships/tags" Target="../tags/tag781.xml"/><Relationship Id="rId28" Type="http://schemas.openxmlformats.org/officeDocument/2006/relationships/tags" Target="../tags/tag786.xml"/><Relationship Id="rId36" Type="http://schemas.openxmlformats.org/officeDocument/2006/relationships/tags" Target="../tags/tag794.xml"/><Relationship Id="rId49" Type="http://schemas.openxmlformats.org/officeDocument/2006/relationships/tags" Target="../tags/tag807.xml"/><Relationship Id="rId57" Type="http://schemas.openxmlformats.org/officeDocument/2006/relationships/notesSlide" Target="../notesSlides/notesSlide17.xml"/><Relationship Id="rId10" Type="http://schemas.openxmlformats.org/officeDocument/2006/relationships/tags" Target="../tags/tag768.xml"/><Relationship Id="rId31" Type="http://schemas.openxmlformats.org/officeDocument/2006/relationships/tags" Target="../tags/tag789.xml"/><Relationship Id="rId44" Type="http://schemas.openxmlformats.org/officeDocument/2006/relationships/tags" Target="../tags/tag802.xml"/><Relationship Id="rId52" Type="http://schemas.openxmlformats.org/officeDocument/2006/relationships/tags" Target="../tags/tag810.xml"/><Relationship Id="rId60" Type="http://schemas.openxmlformats.org/officeDocument/2006/relationships/chart" Target="../charts/chart2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tags" Target="../tags/tag815.xml"/><Relationship Id="rId7" Type="http://schemas.openxmlformats.org/officeDocument/2006/relationships/image" Target="../media/image3.emf"/><Relationship Id="rId2" Type="http://schemas.openxmlformats.org/officeDocument/2006/relationships/tags" Target="../tags/tag814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827.xml"/><Relationship Id="rId18" Type="http://schemas.openxmlformats.org/officeDocument/2006/relationships/tags" Target="../tags/tag832.xml"/><Relationship Id="rId26" Type="http://schemas.openxmlformats.org/officeDocument/2006/relationships/tags" Target="../tags/tag840.xml"/><Relationship Id="rId39" Type="http://schemas.openxmlformats.org/officeDocument/2006/relationships/tags" Target="../tags/tag853.xml"/><Relationship Id="rId21" Type="http://schemas.openxmlformats.org/officeDocument/2006/relationships/tags" Target="../tags/tag835.xml"/><Relationship Id="rId34" Type="http://schemas.openxmlformats.org/officeDocument/2006/relationships/tags" Target="../tags/tag848.xml"/><Relationship Id="rId42" Type="http://schemas.openxmlformats.org/officeDocument/2006/relationships/tags" Target="../tags/tag856.xml"/><Relationship Id="rId47" Type="http://schemas.openxmlformats.org/officeDocument/2006/relationships/tags" Target="../tags/tag861.xml"/><Relationship Id="rId50" Type="http://schemas.openxmlformats.org/officeDocument/2006/relationships/tags" Target="../tags/tag864.xml"/><Relationship Id="rId55" Type="http://schemas.openxmlformats.org/officeDocument/2006/relationships/tags" Target="../tags/tag869.xml"/><Relationship Id="rId7" Type="http://schemas.openxmlformats.org/officeDocument/2006/relationships/tags" Target="../tags/tag821.xml"/><Relationship Id="rId2" Type="http://schemas.openxmlformats.org/officeDocument/2006/relationships/tags" Target="../tags/tag816.xml"/><Relationship Id="rId16" Type="http://schemas.openxmlformats.org/officeDocument/2006/relationships/tags" Target="../tags/tag830.xml"/><Relationship Id="rId29" Type="http://schemas.openxmlformats.org/officeDocument/2006/relationships/tags" Target="../tags/tag843.xml"/><Relationship Id="rId11" Type="http://schemas.openxmlformats.org/officeDocument/2006/relationships/tags" Target="../tags/tag825.xml"/><Relationship Id="rId24" Type="http://schemas.openxmlformats.org/officeDocument/2006/relationships/tags" Target="../tags/tag838.xml"/><Relationship Id="rId32" Type="http://schemas.openxmlformats.org/officeDocument/2006/relationships/tags" Target="../tags/tag846.xml"/><Relationship Id="rId37" Type="http://schemas.openxmlformats.org/officeDocument/2006/relationships/tags" Target="../tags/tag851.xml"/><Relationship Id="rId40" Type="http://schemas.openxmlformats.org/officeDocument/2006/relationships/tags" Target="../tags/tag854.xml"/><Relationship Id="rId45" Type="http://schemas.openxmlformats.org/officeDocument/2006/relationships/tags" Target="../tags/tag859.xml"/><Relationship Id="rId53" Type="http://schemas.openxmlformats.org/officeDocument/2006/relationships/tags" Target="../tags/tag867.xml"/><Relationship Id="rId58" Type="http://schemas.openxmlformats.org/officeDocument/2006/relationships/notesSlide" Target="../notesSlides/notesSlide19.xml"/><Relationship Id="rId5" Type="http://schemas.openxmlformats.org/officeDocument/2006/relationships/tags" Target="../tags/tag819.xml"/><Relationship Id="rId61" Type="http://schemas.openxmlformats.org/officeDocument/2006/relationships/chart" Target="../charts/chart22.xml"/><Relationship Id="rId19" Type="http://schemas.openxmlformats.org/officeDocument/2006/relationships/tags" Target="../tags/tag833.xml"/><Relationship Id="rId14" Type="http://schemas.openxmlformats.org/officeDocument/2006/relationships/tags" Target="../tags/tag828.xml"/><Relationship Id="rId22" Type="http://schemas.openxmlformats.org/officeDocument/2006/relationships/tags" Target="../tags/tag836.xml"/><Relationship Id="rId27" Type="http://schemas.openxmlformats.org/officeDocument/2006/relationships/tags" Target="../tags/tag841.xml"/><Relationship Id="rId30" Type="http://schemas.openxmlformats.org/officeDocument/2006/relationships/tags" Target="../tags/tag844.xml"/><Relationship Id="rId35" Type="http://schemas.openxmlformats.org/officeDocument/2006/relationships/tags" Target="../tags/tag849.xml"/><Relationship Id="rId43" Type="http://schemas.openxmlformats.org/officeDocument/2006/relationships/tags" Target="../tags/tag857.xml"/><Relationship Id="rId48" Type="http://schemas.openxmlformats.org/officeDocument/2006/relationships/tags" Target="../tags/tag862.xml"/><Relationship Id="rId56" Type="http://schemas.openxmlformats.org/officeDocument/2006/relationships/tags" Target="../tags/tag870.xml"/><Relationship Id="rId8" Type="http://schemas.openxmlformats.org/officeDocument/2006/relationships/tags" Target="../tags/tag822.xml"/><Relationship Id="rId51" Type="http://schemas.openxmlformats.org/officeDocument/2006/relationships/tags" Target="../tags/tag865.xml"/><Relationship Id="rId3" Type="http://schemas.openxmlformats.org/officeDocument/2006/relationships/tags" Target="../tags/tag817.xml"/><Relationship Id="rId12" Type="http://schemas.openxmlformats.org/officeDocument/2006/relationships/tags" Target="../tags/tag826.xml"/><Relationship Id="rId17" Type="http://schemas.openxmlformats.org/officeDocument/2006/relationships/tags" Target="../tags/tag831.xml"/><Relationship Id="rId25" Type="http://schemas.openxmlformats.org/officeDocument/2006/relationships/tags" Target="../tags/tag839.xml"/><Relationship Id="rId33" Type="http://schemas.openxmlformats.org/officeDocument/2006/relationships/tags" Target="../tags/tag847.xml"/><Relationship Id="rId38" Type="http://schemas.openxmlformats.org/officeDocument/2006/relationships/tags" Target="../tags/tag852.xml"/><Relationship Id="rId46" Type="http://schemas.openxmlformats.org/officeDocument/2006/relationships/tags" Target="../tags/tag860.xml"/><Relationship Id="rId59" Type="http://schemas.openxmlformats.org/officeDocument/2006/relationships/oleObject" Target="../embeddings/oleObject27.bin"/><Relationship Id="rId20" Type="http://schemas.openxmlformats.org/officeDocument/2006/relationships/tags" Target="../tags/tag834.xml"/><Relationship Id="rId41" Type="http://schemas.openxmlformats.org/officeDocument/2006/relationships/tags" Target="../tags/tag855.xml"/><Relationship Id="rId54" Type="http://schemas.openxmlformats.org/officeDocument/2006/relationships/tags" Target="../tags/tag868.xml"/><Relationship Id="rId62" Type="http://schemas.openxmlformats.org/officeDocument/2006/relationships/chart" Target="../charts/chart23.xml"/><Relationship Id="rId1" Type="http://schemas.openxmlformats.org/officeDocument/2006/relationships/vmlDrawing" Target="../drawings/vmlDrawing27.vml"/><Relationship Id="rId6" Type="http://schemas.openxmlformats.org/officeDocument/2006/relationships/tags" Target="../tags/tag820.xml"/><Relationship Id="rId15" Type="http://schemas.openxmlformats.org/officeDocument/2006/relationships/tags" Target="../tags/tag829.xml"/><Relationship Id="rId23" Type="http://schemas.openxmlformats.org/officeDocument/2006/relationships/tags" Target="../tags/tag837.xml"/><Relationship Id="rId28" Type="http://schemas.openxmlformats.org/officeDocument/2006/relationships/tags" Target="../tags/tag842.xml"/><Relationship Id="rId36" Type="http://schemas.openxmlformats.org/officeDocument/2006/relationships/tags" Target="../tags/tag850.xml"/><Relationship Id="rId49" Type="http://schemas.openxmlformats.org/officeDocument/2006/relationships/tags" Target="../tags/tag863.xml"/><Relationship Id="rId57" Type="http://schemas.openxmlformats.org/officeDocument/2006/relationships/slideLayout" Target="../slideLayouts/slideLayout20.xml"/><Relationship Id="rId10" Type="http://schemas.openxmlformats.org/officeDocument/2006/relationships/tags" Target="../tags/tag824.xml"/><Relationship Id="rId31" Type="http://schemas.openxmlformats.org/officeDocument/2006/relationships/tags" Target="../tags/tag845.xml"/><Relationship Id="rId44" Type="http://schemas.openxmlformats.org/officeDocument/2006/relationships/tags" Target="../tags/tag858.xml"/><Relationship Id="rId52" Type="http://schemas.openxmlformats.org/officeDocument/2006/relationships/tags" Target="../tags/tag866.xml"/><Relationship Id="rId60" Type="http://schemas.openxmlformats.org/officeDocument/2006/relationships/image" Target="../media/image3.emf"/><Relationship Id="rId4" Type="http://schemas.openxmlformats.org/officeDocument/2006/relationships/tags" Target="../tags/tag818.xml"/><Relationship Id="rId9" Type="http://schemas.openxmlformats.org/officeDocument/2006/relationships/tags" Target="../tags/tag8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87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65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8.bin"/></Relationships>
</file>

<file path=ppt/slides/_rels/slide31.xml.rels><?xml version="1.0" encoding="UTF-8" standalone="yes"?>
<Relationships xmlns="http://schemas.openxmlformats.org/package/2006/relationships"><Relationship Id="rId26" Type="http://schemas.openxmlformats.org/officeDocument/2006/relationships/tags" Target="../tags/tag896.xml"/><Relationship Id="rId21" Type="http://schemas.openxmlformats.org/officeDocument/2006/relationships/tags" Target="../tags/tag891.xml"/><Relationship Id="rId42" Type="http://schemas.openxmlformats.org/officeDocument/2006/relationships/tags" Target="../tags/tag912.xml"/><Relationship Id="rId47" Type="http://schemas.openxmlformats.org/officeDocument/2006/relationships/tags" Target="../tags/tag917.xml"/><Relationship Id="rId63" Type="http://schemas.openxmlformats.org/officeDocument/2006/relationships/tags" Target="../tags/tag933.xml"/><Relationship Id="rId68" Type="http://schemas.openxmlformats.org/officeDocument/2006/relationships/tags" Target="../tags/tag938.xml"/><Relationship Id="rId84" Type="http://schemas.openxmlformats.org/officeDocument/2006/relationships/tags" Target="../tags/tag954.xml"/><Relationship Id="rId89" Type="http://schemas.openxmlformats.org/officeDocument/2006/relationships/oleObject" Target="../embeddings/oleObject29.bin"/><Relationship Id="rId16" Type="http://schemas.openxmlformats.org/officeDocument/2006/relationships/tags" Target="../tags/tag886.xml"/><Relationship Id="rId11" Type="http://schemas.openxmlformats.org/officeDocument/2006/relationships/tags" Target="../tags/tag881.xml"/><Relationship Id="rId32" Type="http://schemas.openxmlformats.org/officeDocument/2006/relationships/tags" Target="../tags/tag902.xml"/><Relationship Id="rId37" Type="http://schemas.openxmlformats.org/officeDocument/2006/relationships/tags" Target="../tags/tag907.xml"/><Relationship Id="rId53" Type="http://schemas.openxmlformats.org/officeDocument/2006/relationships/tags" Target="../tags/tag923.xml"/><Relationship Id="rId58" Type="http://schemas.openxmlformats.org/officeDocument/2006/relationships/tags" Target="../tags/tag928.xml"/><Relationship Id="rId74" Type="http://schemas.openxmlformats.org/officeDocument/2006/relationships/tags" Target="../tags/tag944.xml"/><Relationship Id="rId79" Type="http://schemas.openxmlformats.org/officeDocument/2006/relationships/tags" Target="../tags/tag949.xml"/><Relationship Id="rId5" Type="http://schemas.openxmlformats.org/officeDocument/2006/relationships/tags" Target="../tags/tag875.xml"/><Relationship Id="rId90" Type="http://schemas.openxmlformats.org/officeDocument/2006/relationships/image" Target="../media/image10.emf"/><Relationship Id="rId14" Type="http://schemas.openxmlformats.org/officeDocument/2006/relationships/tags" Target="../tags/tag884.xml"/><Relationship Id="rId22" Type="http://schemas.openxmlformats.org/officeDocument/2006/relationships/tags" Target="../tags/tag892.xml"/><Relationship Id="rId27" Type="http://schemas.openxmlformats.org/officeDocument/2006/relationships/tags" Target="../tags/tag897.xml"/><Relationship Id="rId30" Type="http://schemas.openxmlformats.org/officeDocument/2006/relationships/tags" Target="../tags/tag900.xml"/><Relationship Id="rId35" Type="http://schemas.openxmlformats.org/officeDocument/2006/relationships/tags" Target="../tags/tag905.xml"/><Relationship Id="rId43" Type="http://schemas.openxmlformats.org/officeDocument/2006/relationships/tags" Target="../tags/tag913.xml"/><Relationship Id="rId48" Type="http://schemas.openxmlformats.org/officeDocument/2006/relationships/tags" Target="../tags/tag918.xml"/><Relationship Id="rId56" Type="http://schemas.openxmlformats.org/officeDocument/2006/relationships/tags" Target="../tags/tag926.xml"/><Relationship Id="rId64" Type="http://schemas.openxmlformats.org/officeDocument/2006/relationships/tags" Target="../tags/tag934.xml"/><Relationship Id="rId69" Type="http://schemas.openxmlformats.org/officeDocument/2006/relationships/tags" Target="../tags/tag939.xml"/><Relationship Id="rId77" Type="http://schemas.openxmlformats.org/officeDocument/2006/relationships/tags" Target="../tags/tag947.xml"/><Relationship Id="rId8" Type="http://schemas.openxmlformats.org/officeDocument/2006/relationships/tags" Target="../tags/tag878.xml"/><Relationship Id="rId51" Type="http://schemas.openxmlformats.org/officeDocument/2006/relationships/tags" Target="../tags/tag921.xml"/><Relationship Id="rId72" Type="http://schemas.openxmlformats.org/officeDocument/2006/relationships/tags" Target="../tags/tag942.xml"/><Relationship Id="rId80" Type="http://schemas.openxmlformats.org/officeDocument/2006/relationships/tags" Target="../tags/tag950.xml"/><Relationship Id="rId85" Type="http://schemas.openxmlformats.org/officeDocument/2006/relationships/tags" Target="../tags/tag955.xml"/><Relationship Id="rId3" Type="http://schemas.openxmlformats.org/officeDocument/2006/relationships/tags" Target="../tags/tag873.xml"/><Relationship Id="rId12" Type="http://schemas.openxmlformats.org/officeDocument/2006/relationships/tags" Target="../tags/tag882.xml"/><Relationship Id="rId17" Type="http://schemas.openxmlformats.org/officeDocument/2006/relationships/tags" Target="../tags/tag887.xml"/><Relationship Id="rId25" Type="http://schemas.openxmlformats.org/officeDocument/2006/relationships/tags" Target="../tags/tag895.xml"/><Relationship Id="rId33" Type="http://schemas.openxmlformats.org/officeDocument/2006/relationships/tags" Target="../tags/tag903.xml"/><Relationship Id="rId38" Type="http://schemas.openxmlformats.org/officeDocument/2006/relationships/tags" Target="../tags/tag908.xml"/><Relationship Id="rId46" Type="http://schemas.openxmlformats.org/officeDocument/2006/relationships/tags" Target="../tags/tag916.xml"/><Relationship Id="rId59" Type="http://schemas.openxmlformats.org/officeDocument/2006/relationships/tags" Target="../tags/tag929.xml"/><Relationship Id="rId67" Type="http://schemas.openxmlformats.org/officeDocument/2006/relationships/tags" Target="../tags/tag937.xml"/><Relationship Id="rId20" Type="http://schemas.openxmlformats.org/officeDocument/2006/relationships/tags" Target="../tags/tag890.xml"/><Relationship Id="rId41" Type="http://schemas.openxmlformats.org/officeDocument/2006/relationships/tags" Target="../tags/tag911.xml"/><Relationship Id="rId54" Type="http://schemas.openxmlformats.org/officeDocument/2006/relationships/tags" Target="../tags/tag924.xml"/><Relationship Id="rId62" Type="http://schemas.openxmlformats.org/officeDocument/2006/relationships/tags" Target="../tags/tag932.xml"/><Relationship Id="rId70" Type="http://schemas.openxmlformats.org/officeDocument/2006/relationships/tags" Target="../tags/tag940.xml"/><Relationship Id="rId75" Type="http://schemas.openxmlformats.org/officeDocument/2006/relationships/tags" Target="../tags/tag945.xml"/><Relationship Id="rId83" Type="http://schemas.openxmlformats.org/officeDocument/2006/relationships/tags" Target="../tags/tag953.xml"/><Relationship Id="rId88" Type="http://schemas.openxmlformats.org/officeDocument/2006/relationships/notesSlide" Target="../notesSlides/notesSlide20.xml"/><Relationship Id="rId91" Type="http://schemas.openxmlformats.org/officeDocument/2006/relationships/chart" Target="../charts/chart24.xml"/><Relationship Id="rId1" Type="http://schemas.openxmlformats.org/officeDocument/2006/relationships/vmlDrawing" Target="../drawings/vmlDrawing29.vml"/><Relationship Id="rId6" Type="http://schemas.openxmlformats.org/officeDocument/2006/relationships/tags" Target="../tags/tag876.xml"/><Relationship Id="rId15" Type="http://schemas.openxmlformats.org/officeDocument/2006/relationships/tags" Target="../tags/tag885.xml"/><Relationship Id="rId23" Type="http://schemas.openxmlformats.org/officeDocument/2006/relationships/tags" Target="../tags/tag893.xml"/><Relationship Id="rId28" Type="http://schemas.openxmlformats.org/officeDocument/2006/relationships/tags" Target="../tags/tag898.xml"/><Relationship Id="rId36" Type="http://schemas.openxmlformats.org/officeDocument/2006/relationships/tags" Target="../tags/tag906.xml"/><Relationship Id="rId49" Type="http://schemas.openxmlformats.org/officeDocument/2006/relationships/tags" Target="../tags/tag919.xml"/><Relationship Id="rId57" Type="http://schemas.openxmlformats.org/officeDocument/2006/relationships/tags" Target="../tags/tag927.xml"/><Relationship Id="rId10" Type="http://schemas.openxmlformats.org/officeDocument/2006/relationships/tags" Target="../tags/tag880.xml"/><Relationship Id="rId31" Type="http://schemas.openxmlformats.org/officeDocument/2006/relationships/tags" Target="../tags/tag901.xml"/><Relationship Id="rId44" Type="http://schemas.openxmlformats.org/officeDocument/2006/relationships/tags" Target="../tags/tag914.xml"/><Relationship Id="rId52" Type="http://schemas.openxmlformats.org/officeDocument/2006/relationships/tags" Target="../tags/tag922.xml"/><Relationship Id="rId60" Type="http://schemas.openxmlformats.org/officeDocument/2006/relationships/tags" Target="../tags/tag930.xml"/><Relationship Id="rId65" Type="http://schemas.openxmlformats.org/officeDocument/2006/relationships/tags" Target="../tags/tag935.xml"/><Relationship Id="rId73" Type="http://schemas.openxmlformats.org/officeDocument/2006/relationships/tags" Target="../tags/tag943.xml"/><Relationship Id="rId78" Type="http://schemas.openxmlformats.org/officeDocument/2006/relationships/tags" Target="../tags/tag948.xml"/><Relationship Id="rId81" Type="http://schemas.openxmlformats.org/officeDocument/2006/relationships/tags" Target="../tags/tag951.xml"/><Relationship Id="rId86" Type="http://schemas.openxmlformats.org/officeDocument/2006/relationships/tags" Target="../tags/tag956.xml"/><Relationship Id="rId4" Type="http://schemas.openxmlformats.org/officeDocument/2006/relationships/tags" Target="../tags/tag874.xml"/><Relationship Id="rId9" Type="http://schemas.openxmlformats.org/officeDocument/2006/relationships/tags" Target="../tags/tag879.xml"/><Relationship Id="rId13" Type="http://schemas.openxmlformats.org/officeDocument/2006/relationships/tags" Target="../tags/tag883.xml"/><Relationship Id="rId18" Type="http://schemas.openxmlformats.org/officeDocument/2006/relationships/tags" Target="../tags/tag888.xml"/><Relationship Id="rId39" Type="http://schemas.openxmlformats.org/officeDocument/2006/relationships/tags" Target="../tags/tag909.xml"/><Relationship Id="rId34" Type="http://schemas.openxmlformats.org/officeDocument/2006/relationships/tags" Target="../tags/tag904.xml"/><Relationship Id="rId50" Type="http://schemas.openxmlformats.org/officeDocument/2006/relationships/tags" Target="../tags/tag920.xml"/><Relationship Id="rId55" Type="http://schemas.openxmlformats.org/officeDocument/2006/relationships/tags" Target="../tags/tag925.xml"/><Relationship Id="rId76" Type="http://schemas.openxmlformats.org/officeDocument/2006/relationships/tags" Target="../tags/tag946.xml"/><Relationship Id="rId7" Type="http://schemas.openxmlformats.org/officeDocument/2006/relationships/tags" Target="../tags/tag877.xml"/><Relationship Id="rId71" Type="http://schemas.openxmlformats.org/officeDocument/2006/relationships/tags" Target="../tags/tag941.xml"/><Relationship Id="rId92" Type="http://schemas.openxmlformats.org/officeDocument/2006/relationships/chart" Target="../charts/chart25.xml"/><Relationship Id="rId2" Type="http://schemas.openxmlformats.org/officeDocument/2006/relationships/tags" Target="../tags/tag872.xml"/><Relationship Id="rId29" Type="http://schemas.openxmlformats.org/officeDocument/2006/relationships/tags" Target="../tags/tag899.xml"/><Relationship Id="rId24" Type="http://schemas.openxmlformats.org/officeDocument/2006/relationships/tags" Target="../tags/tag894.xml"/><Relationship Id="rId40" Type="http://schemas.openxmlformats.org/officeDocument/2006/relationships/tags" Target="../tags/tag910.xml"/><Relationship Id="rId45" Type="http://schemas.openxmlformats.org/officeDocument/2006/relationships/tags" Target="../tags/tag915.xml"/><Relationship Id="rId66" Type="http://schemas.openxmlformats.org/officeDocument/2006/relationships/tags" Target="../tags/tag936.xml"/><Relationship Id="rId87" Type="http://schemas.openxmlformats.org/officeDocument/2006/relationships/slideLayout" Target="../slideLayouts/slideLayout20.xml"/><Relationship Id="rId61" Type="http://schemas.openxmlformats.org/officeDocument/2006/relationships/tags" Target="../tags/tag931.xml"/><Relationship Id="rId82" Type="http://schemas.openxmlformats.org/officeDocument/2006/relationships/tags" Target="../tags/tag952.xml"/><Relationship Id="rId19" Type="http://schemas.openxmlformats.org/officeDocument/2006/relationships/tags" Target="../tags/tag889.xml"/></Relationships>
</file>

<file path=ppt/slides/_rels/slide32.xml.rels><?xml version="1.0" encoding="UTF-8" standalone="yes"?>
<Relationships xmlns="http://schemas.openxmlformats.org/package/2006/relationships"><Relationship Id="rId26" Type="http://schemas.openxmlformats.org/officeDocument/2006/relationships/tags" Target="../tags/tag981.xml"/><Relationship Id="rId21" Type="http://schemas.openxmlformats.org/officeDocument/2006/relationships/tags" Target="../tags/tag976.xml"/><Relationship Id="rId42" Type="http://schemas.openxmlformats.org/officeDocument/2006/relationships/tags" Target="../tags/tag997.xml"/><Relationship Id="rId47" Type="http://schemas.openxmlformats.org/officeDocument/2006/relationships/tags" Target="../tags/tag1002.xml"/><Relationship Id="rId63" Type="http://schemas.openxmlformats.org/officeDocument/2006/relationships/tags" Target="../tags/tag1018.xml"/><Relationship Id="rId68" Type="http://schemas.openxmlformats.org/officeDocument/2006/relationships/tags" Target="../tags/tag1023.xml"/><Relationship Id="rId84" Type="http://schemas.openxmlformats.org/officeDocument/2006/relationships/tags" Target="../tags/tag1039.xml"/><Relationship Id="rId89" Type="http://schemas.openxmlformats.org/officeDocument/2006/relationships/notesSlide" Target="../notesSlides/notesSlide21.xml"/><Relationship Id="rId16" Type="http://schemas.openxmlformats.org/officeDocument/2006/relationships/tags" Target="../tags/tag971.xml"/><Relationship Id="rId11" Type="http://schemas.openxmlformats.org/officeDocument/2006/relationships/tags" Target="../tags/tag966.xml"/><Relationship Id="rId32" Type="http://schemas.openxmlformats.org/officeDocument/2006/relationships/tags" Target="../tags/tag987.xml"/><Relationship Id="rId37" Type="http://schemas.openxmlformats.org/officeDocument/2006/relationships/tags" Target="../tags/tag992.xml"/><Relationship Id="rId53" Type="http://schemas.openxmlformats.org/officeDocument/2006/relationships/tags" Target="../tags/tag1008.xml"/><Relationship Id="rId58" Type="http://schemas.openxmlformats.org/officeDocument/2006/relationships/tags" Target="../tags/tag1013.xml"/><Relationship Id="rId74" Type="http://schemas.openxmlformats.org/officeDocument/2006/relationships/tags" Target="../tags/tag1029.xml"/><Relationship Id="rId79" Type="http://schemas.openxmlformats.org/officeDocument/2006/relationships/tags" Target="../tags/tag1034.xml"/><Relationship Id="rId5" Type="http://schemas.openxmlformats.org/officeDocument/2006/relationships/tags" Target="../tags/tag960.xml"/><Relationship Id="rId90" Type="http://schemas.openxmlformats.org/officeDocument/2006/relationships/oleObject" Target="../embeddings/oleObject30.bin"/><Relationship Id="rId22" Type="http://schemas.openxmlformats.org/officeDocument/2006/relationships/tags" Target="../tags/tag977.xml"/><Relationship Id="rId27" Type="http://schemas.openxmlformats.org/officeDocument/2006/relationships/tags" Target="../tags/tag982.xml"/><Relationship Id="rId43" Type="http://schemas.openxmlformats.org/officeDocument/2006/relationships/tags" Target="../tags/tag998.xml"/><Relationship Id="rId48" Type="http://schemas.openxmlformats.org/officeDocument/2006/relationships/tags" Target="../tags/tag1003.xml"/><Relationship Id="rId64" Type="http://schemas.openxmlformats.org/officeDocument/2006/relationships/tags" Target="../tags/tag1019.xml"/><Relationship Id="rId69" Type="http://schemas.openxmlformats.org/officeDocument/2006/relationships/tags" Target="../tags/tag1024.xml"/><Relationship Id="rId8" Type="http://schemas.openxmlformats.org/officeDocument/2006/relationships/tags" Target="../tags/tag963.xml"/><Relationship Id="rId51" Type="http://schemas.openxmlformats.org/officeDocument/2006/relationships/tags" Target="../tags/tag1006.xml"/><Relationship Id="rId72" Type="http://schemas.openxmlformats.org/officeDocument/2006/relationships/tags" Target="../tags/tag1027.xml"/><Relationship Id="rId80" Type="http://schemas.openxmlformats.org/officeDocument/2006/relationships/tags" Target="../tags/tag1035.xml"/><Relationship Id="rId85" Type="http://schemas.openxmlformats.org/officeDocument/2006/relationships/tags" Target="../tags/tag1040.xml"/><Relationship Id="rId93" Type="http://schemas.openxmlformats.org/officeDocument/2006/relationships/chart" Target="../charts/chart27.xml"/><Relationship Id="rId3" Type="http://schemas.openxmlformats.org/officeDocument/2006/relationships/tags" Target="../tags/tag958.xml"/><Relationship Id="rId12" Type="http://schemas.openxmlformats.org/officeDocument/2006/relationships/tags" Target="../tags/tag967.xml"/><Relationship Id="rId17" Type="http://schemas.openxmlformats.org/officeDocument/2006/relationships/tags" Target="../tags/tag972.xml"/><Relationship Id="rId25" Type="http://schemas.openxmlformats.org/officeDocument/2006/relationships/tags" Target="../tags/tag980.xml"/><Relationship Id="rId33" Type="http://schemas.openxmlformats.org/officeDocument/2006/relationships/tags" Target="../tags/tag988.xml"/><Relationship Id="rId38" Type="http://schemas.openxmlformats.org/officeDocument/2006/relationships/tags" Target="../tags/tag993.xml"/><Relationship Id="rId46" Type="http://schemas.openxmlformats.org/officeDocument/2006/relationships/tags" Target="../tags/tag1001.xml"/><Relationship Id="rId59" Type="http://schemas.openxmlformats.org/officeDocument/2006/relationships/tags" Target="../tags/tag1014.xml"/><Relationship Id="rId67" Type="http://schemas.openxmlformats.org/officeDocument/2006/relationships/tags" Target="../tags/tag1022.xml"/><Relationship Id="rId20" Type="http://schemas.openxmlformats.org/officeDocument/2006/relationships/tags" Target="../tags/tag975.xml"/><Relationship Id="rId41" Type="http://schemas.openxmlformats.org/officeDocument/2006/relationships/tags" Target="../tags/tag996.xml"/><Relationship Id="rId54" Type="http://schemas.openxmlformats.org/officeDocument/2006/relationships/tags" Target="../tags/tag1009.xml"/><Relationship Id="rId62" Type="http://schemas.openxmlformats.org/officeDocument/2006/relationships/tags" Target="../tags/tag1017.xml"/><Relationship Id="rId70" Type="http://schemas.openxmlformats.org/officeDocument/2006/relationships/tags" Target="../tags/tag1025.xml"/><Relationship Id="rId75" Type="http://schemas.openxmlformats.org/officeDocument/2006/relationships/tags" Target="../tags/tag1030.xml"/><Relationship Id="rId83" Type="http://schemas.openxmlformats.org/officeDocument/2006/relationships/tags" Target="../tags/tag1038.xml"/><Relationship Id="rId88" Type="http://schemas.openxmlformats.org/officeDocument/2006/relationships/slideLayout" Target="../slideLayouts/slideLayout20.xml"/><Relationship Id="rId91" Type="http://schemas.openxmlformats.org/officeDocument/2006/relationships/image" Target="../media/image10.emf"/><Relationship Id="rId1" Type="http://schemas.openxmlformats.org/officeDocument/2006/relationships/vmlDrawing" Target="../drawings/vmlDrawing30.vml"/><Relationship Id="rId6" Type="http://schemas.openxmlformats.org/officeDocument/2006/relationships/tags" Target="../tags/tag961.xml"/><Relationship Id="rId15" Type="http://schemas.openxmlformats.org/officeDocument/2006/relationships/tags" Target="../tags/tag970.xml"/><Relationship Id="rId23" Type="http://schemas.openxmlformats.org/officeDocument/2006/relationships/tags" Target="../tags/tag978.xml"/><Relationship Id="rId28" Type="http://schemas.openxmlformats.org/officeDocument/2006/relationships/tags" Target="../tags/tag983.xml"/><Relationship Id="rId36" Type="http://schemas.openxmlformats.org/officeDocument/2006/relationships/tags" Target="../tags/tag991.xml"/><Relationship Id="rId49" Type="http://schemas.openxmlformats.org/officeDocument/2006/relationships/tags" Target="../tags/tag1004.xml"/><Relationship Id="rId57" Type="http://schemas.openxmlformats.org/officeDocument/2006/relationships/tags" Target="../tags/tag1012.xml"/><Relationship Id="rId10" Type="http://schemas.openxmlformats.org/officeDocument/2006/relationships/tags" Target="../tags/tag965.xml"/><Relationship Id="rId31" Type="http://schemas.openxmlformats.org/officeDocument/2006/relationships/tags" Target="../tags/tag986.xml"/><Relationship Id="rId44" Type="http://schemas.openxmlformats.org/officeDocument/2006/relationships/tags" Target="../tags/tag999.xml"/><Relationship Id="rId52" Type="http://schemas.openxmlformats.org/officeDocument/2006/relationships/tags" Target="../tags/tag1007.xml"/><Relationship Id="rId60" Type="http://schemas.openxmlformats.org/officeDocument/2006/relationships/tags" Target="../tags/tag1015.xml"/><Relationship Id="rId65" Type="http://schemas.openxmlformats.org/officeDocument/2006/relationships/tags" Target="../tags/tag1020.xml"/><Relationship Id="rId73" Type="http://schemas.openxmlformats.org/officeDocument/2006/relationships/tags" Target="../tags/tag1028.xml"/><Relationship Id="rId78" Type="http://schemas.openxmlformats.org/officeDocument/2006/relationships/tags" Target="../tags/tag1033.xml"/><Relationship Id="rId81" Type="http://schemas.openxmlformats.org/officeDocument/2006/relationships/tags" Target="../tags/tag1036.xml"/><Relationship Id="rId86" Type="http://schemas.openxmlformats.org/officeDocument/2006/relationships/tags" Target="../tags/tag1041.xml"/><Relationship Id="rId4" Type="http://schemas.openxmlformats.org/officeDocument/2006/relationships/tags" Target="../tags/tag959.xml"/><Relationship Id="rId9" Type="http://schemas.openxmlformats.org/officeDocument/2006/relationships/tags" Target="../tags/tag964.xml"/><Relationship Id="rId13" Type="http://schemas.openxmlformats.org/officeDocument/2006/relationships/tags" Target="../tags/tag968.xml"/><Relationship Id="rId18" Type="http://schemas.openxmlformats.org/officeDocument/2006/relationships/tags" Target="../tags/tag973.xml"/><Relationship Id="rId39" Type="http://schemas.openxmlformats.org/officeDocument/2006/relationships/tags" Target="../tags/tag994.xml"/><Relationship Id="rId34" Type="http://schemas.openxmlformats.org/officeDocument/2006/relationships/tags" Target="../tags/tag989.xml"/><Relationship Id="rId50" Type="http://schemas.openxmlformats.org/officeDocument/2006/relationships/tags" Target="../tags/tag1005.xml"/><Relationship Id="rId55" Type="http://schemas.openxmlformats.org/officeDocument/2006/relationships/tags" Target="../tags/tag1010.xml"/><Relationship Id="rId76" Type="http://schemas.openxmlformats.org/officeDocument/2006/relationships/tags" Target="../tags/tag1031.xml"/><Relationship Id="rId7" Type="http://schemas.openxmlformats.org/officeDocument/2006/relationships/tags" Target="../tags/tag962.xml"/><Relationship Id="rId71" Type="http://schemas.openxmlformats.org/officeDocument/2006/relationships/tags" Target="../tags/tag1026.xml"/><Relationship Id="rId92" Type="http://schemas.openxmlformats.org/officeDocument/2006/relationships/chart" Target="../charts/chart26.xml"/><Relationship Id="rId2" Type="http://schemas.openxmlformats.org/officeDocument/2006/relationships/tags" Target="../tags/tag957.xml"/><Relationship Id="rId29" Type="http://schemas.openxmlformats.org/officeDocument/2006/relationships/tags" Target="../tags/tag984.xml"/><Relationship Id="rId24" Type="http://schemas.openxmlformats.org/officeDocument/2006/relationships/tags" Target="../tags/tag979.xml"/><Relationship Id="rId40" Type="http://schemas.openxmlformats.org/officeDocument/2006/relationships/tags" Target="../tags/tag995.xml"/><Relationship Id="rId45" Type="http://schemas.openxmlformats.org/officeDocument/2006/relationships/tags" Target="../tags/tag1000.xml"/><Relationship Id="rId66" Type="http://schemas.openxmlformats.org/officeDocument/2006/relationships/tags" Target="../tags/tag1021.xml"/><Relationship Id="rId87" Type="http://schemas.openxmlformats.org/officeDocument/2006/relationships/tags" Target="../tags/tag1042.xml"/><Relationship Id="rId61" Type="http://schemas.openxmlformats.org/officeDocument/2006/relationships/tags" Target="../tags/tag1016.xml"/><Relationship Id="rId82" Type="http://schemas.openxmlformats.org/officeDocument/2006/relationships/tags" Target="../tags/tag1037.xml"/><Relationship Id="rId19" Type="http://schemas.openxmlformats.org/officeDocument/2006/relationships/tags" Target="../tags/tag974.xml"/><Relationship Id="rId14" Type="http://schemas.openxmlformats.org/officeDocument/2006/relationships/tags" Target="../tags/tag969.xml"/><Relationship Id="rId30" Type="http://schemas.openxmlformats.org/officeDocument/2006/relationships/tags" Target="../tags/tag985.xml"/><Relationship Id="rId35" Type="http://schemas.openxmlformats.org/officeDocument/2006/relationships/tags" Target="../tags/tag990.xml"/><Relationship Id="rId56" Type="http://schemas.openxmlformats.org/officeDocument/2006/relationships/tags" Target="../tags/tag1011.xml"/><Relationship Id="rId77" Type="http://schemas.openxmlformats.org/officeDocument/2006/relationships/tags" Target="../tags/tag1032.xml"/></Relationships>
</file>

<file path=ppt/slides/_rels/slide33.xml.rels><?xml version="1.0" encoding="UTF-8" standalone="yes"?>
<Relationships xmlns="http://schemas.openxmlformats.org/package/2006/relationships"><Relationship Id="rId26" Type="http://schemas.openxmlformats.org/officeDocument/2006/relationships/tags" Target="../tags/tag1067.xml"/><Relationship Id="rId21" Type="http://schemas.openxmlformats.org/officeDocument/2006/relationships/tags" Target="../tags/tag1062.xml"/><Relationship Id="rId42" Type="http://schemas.openxmlformats.org/officeDocument/2006/relationships/tags" Target="../tags/tag1083.xml"/><Relationship Id="rId47" Type="http://schemas.openxmlformats.org/officeDocument/2006/relationships/tags" Target="../tags/tag1088.xml"/><Relationship Id="rId63" Type="http://schemas.openxmlformats.org/officeDocument/2006/relationships/tags" Target="../tags/tag1104.xml"/><Relationship Id="rId68" Type="http://schemas.openxmlformats.org/officeDocument/2006/relationships/tags" Target="../tags/tag1109.xml"/><Relationship Id="rId84" Type="http://schemas.openxmlformats.org/officeDocument/2006/relationships/tags" Target="../tags/tag1125.xml"/><Relationship Id="rId89" Type="http://schemas.openxmlformats.org/officeDocument/2006/relationships/tags" Target="../tags/tag1130.xml"/><Relationship Id="rId16" Type="http://schemas.openxmlformats.org/officeDocument/2006/relationships/tags" Target="../tags/tag1057.xml"/><Relationship Id="rId11" Type="http://schemas.openxmlformats.org/officeDocument/2006/relationships/tags" Target="../tags/tag1052.xml"/><Relationship Id="rId32" Type="http://schemas.openxmlformats.org/officeDocument/2006/relationships/tags" Target="../tags/tag1073.xml"/><Relationship Id="rId37" Type="http://schemas.openxmlformats.org/officeDocument/2006/relationships/tags" Target="../tags/tag1078.xml"/><Relationship Id="rId53" Type="http://schemas.openxmlformats.org/officeDocument/2006/relationships/tags" Target="../tags/tag1094.xml"/><Relationship Id="rId58" Type="http://schemas.openxmlformats.org/officeDocument/2006/relationships/tags" Target="../tags/tag1099.xml"/><Relationship Id="rId74" Type="http://schemas.openxmlformats.org/officeDocument/2006/relationships/tags" Target="../tags/tag1115.xml"/><Relationship Id="rId79" Type="http://schemas.openxmlformats.org/officeDocument/2006/relationships/tags" Target="../tags/tag1120.xml"/><Relationship Id="rId102" Type="http://schemas.openxmlformats.org/officeDocument/2006/relationships/oleObject" Target="../embeddings/oleObject31.bin"/><Relationship Id="rId5" Type="http://schemas.openxmlformats.org/officeDocument/2006/relationships/tags" Target="../tags/tag1046.xml"/><Relationship Id="rId90" Type="http://schemas.openxmlformats.org/officeDocument/2006/relationships/tags" Target="../tags/tag1131.xml"/><Relationship Id="rId95" Type="http://schemas.openxmlformats.org/officeDocument/2006/relationships/tags" Target="../tags/tag1136.xml"/><Relationship Id="rId22" Type="http://schemas.openxmlformats.org/officeDocument/2006/relationships/tags" Target="../tags/tag1063.xml"/><Relationship Id="rId27" Type="http://schemas.openxmlformats.org/officeDocument/2006/relationships/tags" Target="../tags/tag1068.xml"/><Relationship Id="rId43" Type="http://schemas.openxmlformats.org/officeDocument/2006/relationships/tags" Target="../tags/tag1084.xml"/><Relationship Id="rId48" Type="http://schemas.openxmlformats.org/officeDocument/2006/relationships/tags" Target="../tags/tag1089.xml"/><Relationship Id="rId64" Type="http://schemas.openxmlformats.org/officeDocument/2006/relationships/tags" Target="../tags/tag1105.xml"/><Relationship Id="rId69" Type="http://schemas.openxmlformats.org/officeDocument/2006/relationships/tags" Target="../tags/tag1110.xml"/><Relationship Id="rId80" Type="http://schemas.openxmlformats.org/officeDocument/2006/relationships/tags" Target="../tags/tag1121.xml"/><Relationship Id="rId85" Type="http://schemas.openxmlformats.org/officeDocument/2006/relationships/tags" Target="../tags/tag1126.xml"/><Relationship Id="rId12" Type="http://schemas.openxmlformats.org/officeDocument/2006/relationships/tags" Target="../tags/tag1053.xml"/><Relationship Id="rId17" Type="http://schemas.openxmlformats.org/officeDocument/2006/relationships/tags" Target="../tags/tag1058.xml"/><Relationship Id="rId33" Type="http://schemas.openxmlformats.org/officeDocument/2006/relationships/tags" Target="../tags/tag1074.xml"/><Relationship Id="rId38" Type="http://schemas.openxmlformats.org/officeDocument/2006/relationships/tags" Target="../tags/tag1079.xml"/><Relationship Id="rId59" Type="http://schemas.openxmlformats.org/officeDocument/2006/relationships/tags" Target="../tags/tag1100.xml"/><Relationship Id="rId103" Type="http://schemas.openxmlformats.org/officeDocument/2006/relationships/image" Target="../media/image10.emf"/><Relationship Id="rId20" Type="http://schemas.openxmlformats.org/officeDocument/2006/relationships/tags" Target="../tags/tag1061.xml"/><Relationship Id="rId41" Type="http://schemas.openxmlformats.org/officeDocument/2006/relationships/tags" Target="../tags/tag1082.xml"/><Relationship Id="rId54" Type="http://schemas.openxmlformats.org/officeDocument/2006/relationships/tags" Target="../tags/tag1095.xml"/><Relationship Id="rId62" Type="http://schemas.openxmlformats.org/officeDocument/2006/relationships/tags" Target="../tags/tag1103.xml"/><Relationship Id="rId70" Type="http://schemas.openxmlformats.org/officeDocument/2006/relationships/tags" Target="../tags/tag1111.xml"/><Relationship Id="rId75" Type="http://schemas.openxmlformats.org/officeDocument/2006/relationships/tags" Target="../tags/tag1116.xml"/><Relationship Id="rId83" Type="http://schemas.openxmlformats.org/officeDocument/2006/relationships/tags" Target="../tags/tag1124.xml"/><Relationship Id="rId88" Type="http://schemas.openxmlformats.org/officeDocument/2006/relationships/tags" Target="../tags/tag1129.xml"/><Relationship Id="rId91" Type="http://schemas.openxmlformats.org/officeDocument/2006/relationships/tags" Target="../tags/tag1132.xml"/><Relationship Id="rId96" Type="http://schemas.openxmlformats.org/officeDocument/2006/relationships/tags" Target="../tags/tag1137.xml"/><Relationship Id="rId1" Type="http://schemas.openxmlformats.org/officeDocument/2006/relationships/vmlDrawing" Target="../drawings/vmlDrawing31.vml"/><Relationship Id="rId6" Type="http://schemas.openxmlformats.org/officeDocument/2006/relationships/tags" Target="../tags/tag1047.xml"/><Relationship Id="rId15" Type="http://schemas.openxmlformats.org/officeDocument/2006/relationships/tags" Target="../tags/tag1056.xml"/><Relationship Id="rId23" Type="http://schemas.openxmlformats.org/officeDocument/2006/relationships/tags" Target="../tags/tag1064.xml"/><Relationship Id="rId28" Type="http://schemas.openxmlformats.org/officeDocument/2006/relationships/tags" Target="../tags/tag1069.xml"/><Relationship Id="rId36" Type="http://schemas.openxmlformats.org/officeDocument/2006/relationships/tags" Target="../tags/tag1077.xml"/><Relationship Id="rId49" Type="http://schemas.openxmlformats.org/officeDocument/2006/relationships/tags" Target="../tags/tag1090.xml"/><Relationship Id="rId57" Type="http://schemas.openxmlformats.org/officeDocument/2006/relationships/tags" Target="../tags/tag1098.xml"/><Relationship Id="rId106" Type="http://schemas.openxmlformats.org/officeDocument/2006/relationships/chart" Target="../charts/chart30.xml"/><Relationship Id="rId10" Type="http://schemas.openxmlformats.org/officeDocument/2006/relationships/tags" Target="../tags/tag1051.xml"/><Relationship Id="rId31" Type="http://schemas.openxmlformats.org/officeDocument/2006/relationships/tags" Target="../tags/tag1072.xml"/><Relationship Id="rId44" Type="http://schemas.openxmlformats.org/officeDocument/2006/relationships/tags" Target="../tags/tag1085.xml"/><Relationship Id="rId52" Type="http://schemas.openxmlformats.org/officeDocument/2006/relationships/tags" Target="../tags/tag1093.xml"/><Relationship Id="rId60" Type="http://schemas.openxmlformats.org/officeDocument/2006/relationships/tags" Target="../tags/tag1101.xml"/><Relationship Id="rId65" Type="http://schemas.openxmlformats.org/officeDocument/2006/relationships/tags" Target="../tags/tag1106.xml"/><Relationship Id="rId73" Type="http://schemas.openxmlformats.org/officeDocument/2006/relationships/tags" Target="../tags/tag1114.xml"/><Relationship Id="rId78" Type="http://schemas.openxmlformats.org/officeDocument/2006/relationships/tags" Target="../tags/tag1119.xml"/><Relationship Id="rId81" Type="http://schemas.openxmlformats.org/officeDocument/2006/relationships/tags" Target="../tags/tag1122.xml"/><Relationship Id="rId86" Type="http://schemas.openxmlformats.org/officeDocument/2006/relationships/tags" Target="../tags/tag1127.xml"/><Relationship Id="rId94" Type="http://schemas.openxmlformats.org/officeDocument/2006/relationships/tags" Target="../tags/tag1135.xml"/><Relationship Id="rId99" Type="http://schemas.openxmlformats.org/officeDocument/2006/relationships/tags" Target="../tags/tag1140.xml"/><Relationship Id="rId101" Type="http://schemas.openxmlformats.org/officeDocument/2006/relationships/slideLayout" Target="../slideLayouts/slideLayout20.xml"/><Relationship Id="rId4" Type="http://schemas.openxmlformats.org/officeDocument/2006/relationships/tags" Target="../tags/tag1045.xml"/><Relationship Id="rId9" Type="http://schemas.openxmlformats.org/officeDocument/2006/relationships/tags" Target="../tags/tag1050.xml"/><Relationship Id="rId13" Type="http://schemas.openxmlformats.org/officeDocument/2006/relationships/tags" Target="../tags/tag1054.xml"/><Relationship Id="rId18" Type="http://schemas.openxmlformats.org/officeDocument/2006/relationships/tags" Target="../tags/tag1059.xml"/><Relationship Id="rId39" Type="http://schemas.openxmlformats.org/officeDocument/2006/relationships/tags" Target="../tags/tag1080.xml"/><Relationship Id="rId34" Type="http://schemas.openxmlformats.org/officeDocument/2006/relationships/tags" Target="../tags/tag1075.xml"/><Relationship Id="rId50" Type="http://schemas.openxmlformats.org/officeDocument/2006/relationships/tags" Target="../tags/tag1091.xml"/><Relationship Id="rId55" Type="http://schemas.openxmlformats.org/officeDocument/2006/relationships/tags" Target="../tags/tag1096.xml"/><Relationship Id="rId76" Type="http://schemas.openxmlformats.org/officeDocument/2006/relationships/tags" Target="../tags/tag1117.xml"/><Relationship Id="rId97" Type="http://schemas.openxmlformats.org/officeDocument/2006/relationships/tags" Target="../tags/tag1138.xml"/><Relationship Id="rId104" Type="http://schemas.openxmlformats.org/officeDocument/2006/relationships/chart" Target="../charts/chart28.xml"/><Relationship Id="rId7" Type="http://schemas.openxmlformats.org/officeDocument/2006/relationships/tags" Target="../tags/tag1048.xml"/><Relationship Id="rId71" Type="http://schemas.openxmlformats.org/officeDocument/2006/relationships/tags" Target="../tags/tag1112.xml"/><Relationship Id="rId92" Type="http://schemas.openxmlformats.org/officeDocument/2006/relationships/tags" Target="../tags/tag1133.xml"/><Relationship Id="rId2" Type="http://schemas.openxmlformats.org/officeDocument/2006/relationships/tags" Target="../tags/tag1043.xml"/><Relationship Id="rId29" Type="http://schemas.openxmlformats.org/officeDocument/2006/relationships/tags" Target="../tags/tag1070.xml"/><Relationship Id="rId24" Type="http://schemas.openxmlformats.org/officeDocument/2006/relationships/tags" Target="../tags/tag1065.xml"/><Relationship Id="rId40" Type="http://schemas.openxmlformats.org/officeDocument/2006/relationships/tags" Target="../tags/tag1081.xml"/><Relationship Id="rId45" Type="http://schemas.openxmlformats.org/officeDocument/2006/relationships/tags" Target="../tags/tag1086.xml"/><Relationship Id="rId66" Type="http://schemas.openxmlformats.org/officeDocument/2006/relationships/tags" Target="../tags/tag1107.xml"/><Relationship Id="rId87" Type="http://schemas.openxmlformats.org/officeDocument/2006/relationships/tags" Target="../tags/tag1128.xml"/><Relationship Id="rId61" Type="http://schemas.openxmlformats.org/officeDocument/2006/relationships/tags" Target="../tags/tag1102.xml"/><Relationship Id="rId82" Type="http://schemas.openxmlformats.org/officeDocument/2006/relationships/tags" Target="../tags/tag1123.xml"/><Relationship Id="rId19" Type="http://schemas.openxmlformats.org/officeDocument/2006/relationships/tags" Target="../tags/tag1060.xml"/><Relationship Id="rId14" Type="http://schemas.openxmlformats.org/officeDocument/2006/relationships/tags" Target="../tags/tag1055.xml"/><Relationship Id="rId30" Type="http://schemas.openxmlformats.org/officeDocument/2006/relationships/tags" Target="../tags/tag1071.xml"/><Relationship Id="rId35" Type="http://schemas.openxmlformats.org/officeDocument/2006/relationships/tags" Target="../tags/tag1076.xml"/><Relationship Id="rId56" Type="http://schemas.openxmlformats.org/officeDocument/2006/relationships/tags" Target="../tags/tag1097.xml"/><Relationship Id="rId77" Type="http://schemas.openxmlformats.org/officeDocument/2006/relationships/tags" Target="../tags/tag1118.xml"/><Relationship Id="rId100" Type="http://schemas.openxmlformats.org/officeDocument/2006/relationships/tags" Target="../tags/tag1141.xml"/><Relationship Id="rId105" Type="http://schemas.openxmlformats.org/officeDocument/2006/relationships/chart" Target="../charts/chart29.xml"/><Relationship Id="rId8" Type="http://schemas.openxmlformats.org/officeDocument/2006/relationships/tags" Target="../tags/tag1049.xml"/><Relationship Id="rId51" Type="http://schemas.openxmlformats.org/officeDocument/2006/relationships/tags" Target="../tags/tag1092.xml"/><Relationship Id="rId72" Type="http://schemas.openxmlformats.org/officeDocument/2006/relationships/tags" Target="../tags/tag1113.xml"/><Relationship Id="rId93" Type="http://schemas.openxmlformats.org/officeDocument/2006/relationships/tags" Target="../tags/tag1134.xml"/><Relationship Id="rId98" Type="http://schemas.openxmlformats.org/officeDocument/2006/relationships/tags" Target="../tags/tag1139.xml"/><Relationship Id="rId3" Type="http://schemas.openxmlformats.org/officeDocument/2006/relationships/tags" Target="../tags/tag1044.xml"/><Relationship Id="rId25" Type="http://schemas.openxmlformats.org/officeDocument/2006/relationships/tags" Target="../tags/tag1066.xml"/><Relationship Id="rId46" Type="http://schemas.openxmlformats.org/officeDocument/2006/relationships/tags" Target="../tags/tag1087.xml"/><Relationship Id="rId67" Type="http://schemas.openxmlformats.org/officeDocument/2006/relationships/tags" Target="../tags/tag1108.xml"/></Relationships>
</file>

<file path=ppt/slides/_rels/slide34.xml.rels><?xml version="1.0" encoding="UTF-8" standalone="yes"?>
<Relationships xmlns="http://schemas.openxmlformats.org/package/2006/relationships"><Relationship Id="rId26" Type="http://schemas.openxmlformats.org/officeDocument/2006/relationships/tags" Target="../tags/tag1166.xml"/><Relationship Id="rId21" Type="http://schemas.openxmlformats.org/officeDocument/2006/relationships/tags" Target="../tags/tag1161.xml"/><Relationship Id="rId42" Type="http://schemas.openxmlformats.org/officeDocument/2006/relationships/tags" Target="../tags/tag1182.xml"/><Relationship Id="rId47" Type="http://schemas.openxmlformats.org/officeDocument/2006/relationships/tags" Target="../tags/tag1187.xml"/><Relationship Id="rId63" Type="http://schemas.openxmlformats.org/officeDocument/2006/relationships/tags" Target="../tags/tag1203.xml"/><Relationship Id="rId68" Type="http://schemas.openxmlformats.org/officeDocument/2006/relationships/tags" Target="../tags/tag1208.xml"/><Relationship Id="rId84" Type="http://schemas.openxmlformats.org/officeDocument/2006/relationships/tags" Target="../tags/tag1224.xml"/><Relationship Id="rId89" Type="http://schemas.openxmlformats.org/officeDocument/2006/relationships/chart" Target="../charts/chart31.xml"/><Relationship Id="rId16" Type="http://schemas.openxmlformats.org/officeDocument/2006/relationships/tags" Target="../tags/tag1156.xml"/><Relationship Id="rId11" Type="http://schemas.openxmlformats.org/officeDocument/2006/relationships/tags" Target="../tags/tag1151.xml"/><Relationship Id="rId32" Type="http://schemas.openxmlformats.org/officeDocument/2006/relationships/tags" Target="../tags/tag1172.xml"/><Relationship Id="rId37" Type="http://schemas.openxmlformats.org/officeDocument/2006/relationships/tags" Target="../tags/tag1177.xml"/><Relationship Id="rId53" Type="http://schemas.openxmlformats.org/officeDocument/2006/relationships/tags" Target="../tags/tag1193.xml"/><Relationship Id="rId58" Type="http://schemas.openxmlformats.org/officeDocument/2006/relationships/tags" Target="../tags/tag1198.xml"/><Relationship Id="rId74" Type="http://schemas.openxmlformats.org/officeDocument/2006/relationships/tags" Target="../tags/tag1214.xml"/><Relationship Id="rId79" Type="http://schemas.openxmlformats.org/officeDocument/2006/relationships/tags" Target="../tags/tag1219.xml"/><Relationship Id="rId5" Type="http://schemas.openxmlformats.org/officeDocument/2006/relationships/tags" Target="../tags/tag1145.xml"/><Relationship Id="rId90" Type="http://schemas.openxmlformats.org/officeDocument/2006/relationships/chart" Target="../charts/chart32.xml"/><Relationship Id="rId14" Type="http://schemas.openxmlformats.org/officeDocument/2006/relationships/tags" Target="../tags/tag1154.xml"/><Relationship Id="rId22" Type="http://schemas.openxmlformats.org/officeDocument/2006/relationships/tags" Target="../tags/tag1162.xml"/><Relationship Id="rId27" Type="http://schemas.openxmlformats.org/officeDocument/2006/relationships/tags" Target="../tags/tag1167.xml"/><Relationship Id="rId30" Type="http://schemas.openxmlformats.org/officeDocument/2006/relationships/tags" Target="../tags/tag1170.xml"/><Relationship Id="rId35" Type="http://schemas.openxmlformats.org/officeDocument/2006/relationships/tags" Target="../tags/tag1175.xml"/><Relationship Id="rId43" Type="http://schemas.openxmlformats.org/officeDocument/2006/relationships/tags" Target="../tags/tag1183.xml"/><Relationship Id="rId48" Type="http://schemas.openxmlformats.org/officeDocument/2006/relationships/tags" Target="../tags/tag1188.xml"/><Relationship Id="rId56" Type="http://schemas.openxmlformats.org/officeDocument/2006/relationships/tags" Target="../tags/tag1196.xml"/><Relationship Id="rId64" Type="http://schemas.openxmlformats.org/officeDocument/2006/relationships/tags" Target="../tags/tag1204.xml"/><Relationship Id="rId69" Type="http://schemas.openxmlformats.org/officeDocument/2006/relationships/tags" Target="../tags/tag1209.xml"/><Relationship Id="rId77" Type="http://schemas.openxmlformats.org/officeDocument/2006/relationships/tags" Target="../tags/tag1217.xml"/><Relationship Id="rId8" Type="http://schemas.openxmlformats.org/officeDocument/2006/relationships/tags" Target="../tags/tag1148.xml"/><Relationship Id="rId51" Type="http://schemas.openxmlformats.org/officeDocument/2006/relationships/tags" Target="../tags/tag1191.xml"/><Relationship Id="rId72" Type="http://schemas.openxmlformats.org/officeDocument/2006/relationships/tags" Target="../tags/tag1212.xml"/><Relationship Id="rId80" Type="http://schemas.openxmlformats.org/officeDocument/2006/relationships/tags" Target="../tags/tag1220.xml"/><Relationship Id="rId85" Type="http://schemas.openxmlformats.org/officeDocument/2006/relationships/slideLayout" Target="../slideLayouts/slideLayout20.xml"/><Relationship Id="rId3" Type="http://schemas.openxmlformats.org/officeDocument/2006/relationships/tags" Target="../tags/tag1143.xml"/><Relationship Id="rId12" Type="http://schemas.openxmlformats.org/officeDocument/2006/relationships/tags" Target="../tags/tag1152.xml"/><Relationship Id="rId17" Type="http://schemas.openxmlformats.org/officeDocument/2006/relationships/tags" Target="../tags/tag1157.xml"/><Relationship Id="rId25" Type="http://schemas.openxmlformats.org/officeDocument/2006/relationships/tags" Target="../tags/tag1165.xml"/><Relationship Id="rId33" Type="http://schemas.openxmlformats.org/officeDocument/2006/relationships/tags" Target="../tags/tag1173.xml"/><Relationship Id="rId38" Type="http://schemas.openxmlformats.org/officeDocument/2006/relationships/tags" Target="../tags/tag1178.xml"/><Relationship Id="rId46" Type="http://schemas.openxmlformats.org/officeDocument/2006/relationships/tags" Target="../tags/tag1186.xml"/><Relationship Id="rId59" Type="http://schemas.openxmlformats.org/officeDocument/2006/relationships/tags" Target="../tags/tag1199.xml"/><Relationship Id="rId67" Type="http://schemas.openxmlformats.org/officeDocument/2006/relationships/tags" Target="../tags/tag1207.xml"/><Relationship Id="rId20" Type="http://schemas.openxmlformats.org/officeDocument/2006/relationships/tags" Target="../tags/tag1160.xml"/><Relationship Id="rId41" Type="http://schemas.openxmlformats.org/officeDocument/2006/relationships/tags" Target="../tags/tag1181.xml"/><Relationship Id="rId54" Type="http://schemas.openxmlformats.org/officeDocument/2006/relationships/tags" Target="../tags/tag1194.xml"/><Relationship Id="rId62" Type="http://schemas.openxmlformats.org/officeDocument/2006/relationships/tags" Target="../tags/tag1202.xml"/><Relationship Id="rId70" Type="http://schemas.openxmlformats.org/officeDocument/2006/relationships/tags" Target="../tags/tag1210.xml"/><Relationship Id="rId75" Type="http://schemas.openxmlformats.org/officeDocument/2006/relationships/tags" Target="../tags/tag1215.xml"/><Relationship Id="rId83" Type="http://schemas.openxmlformats.org/officeDocument/2006/relationships/tags" Target="../tags/tag1223.xml"/><Relationship Id="rId88" Type="http://schemas.openxmlformats.org/officeDocument/2006/relationships/image" Target="../media/image10.emf"/><Relationship Id="rId1" Type="http://schemas.openxmlformats.org/officeDocument/2006/relationships/vmlDrawing" Target="../drawings/vmlDrawing32.vml"/><Relationship Id="rId6" Type="http://schemas.openxmlformats.org/officeDocument/2006/relationships/tags" Target="../tags/tag1146.xml"/><Relationship Id="rId15" Type="http://schemas.openxmlformats.org/officeDocument/2006/relationships/tags" Target="../tags/tag1155.xml"/><Relationship Id="rId23" Type="http://schemas.openxmlformats.org/officeDocument/2006/relationships/tags" Target="../tags/tag1163.xml"/><Relationship Id="rId28" Type="http://schemas.openxmlformats.org/officeDocument/2006/relationships/tags" Target="../tags/tag1168.xml"/><Relationship Id="rId36" Type="http://schemas.openxmlformats.org/officeDocument/2006/relationships/tags" Target="../tags/tag1176.xml"/><Relationship Id="rId49" Type="http://schemas.openxmlformats.org/officeDocument/2006/relationships/tags" Target="../tags/tag1189.xml"/><Relationship Id="rId57" Type="http://schemas.openxmlformats.org/officeDocument/2006/relationships/tags" Target="../tags/tag1197.xml"/><Relationship Id="rId10" Type="http://schemas.openxmlformats.org/officeDocument/2006/relationships/tags" Target="../tags/tag1150.xml"/><Relationship Id="rId31" Type="http://schemas.openxmlformats.org/officeDocument/2006/relationships/tags" Target="../tags/tag1171.xml"/><Relationship Id="rId44" Type="http://schemas.openxmlformats.org/officeDocument/2006/relationships/tags" Target="../tags/tag1184.xml"/><Relationship Id="rId52" Type="http://schemas.openxmlformats.org/officeDocument/2006/relationships/tags" Target="../tags/tag1192.xml"/><Relationship Id="rId60" Type="http://schemas.openxmlformats.org/officeDocument/2006/relationships/tags" Target="../tags/tag1200.xml"/><Relationship Id="rId65" Type="http://schemas.openxmlformats.org/officeDocument/2006/relationships/tags" Target="../tags/tag1205.xml"/><Relationship Id="rId73" Type="http://schemas.openxmlformats.org/officeDocument/2006/relationships/tags" Target="../tags/tag1213.xml"/><Relationship Id="rId78" Type="http://schemas.openxmlformats.org/officeDocument/2006/relationships/tags" Target="../tags/tag1218.xml"/><Relationship Id="rId81" Type="http://schemas.openxmlformats.org/officeDocument/2006/relationships/tags" Target="../tags/tag1221.xml"/><Relationship Id="rId86" Type="http://schemas.openxmlformats.org/officeDocument/2006/relationships/notesSlide" Target="../notesSlides/notesSlide22.xml"/><Relationship Id="rId4" Type="http://schemas.openxmlformats.org/officeDocument/2006/relationships/tags" Target="../tags/tag1144.xml"/><Relationship Id="rId9" Type="http://schemas.openxmlformats.org/officeDocument/2006/relationships/tags" Target="../tags/tag1149.xml"/><Relationship Id="rId13" Type="http://schemas.openxmlformats.org/officeDocument/2006/relationships/tags" Target="../tags/tag1153.xml"/><Relationship Id="rId18" Type="http://schemas.openxmlformats.org/officeDocument/2006/relationships/tags" Target="../tags/tag1158.xml"/><Relationship Id="rId39" Type="http://schemas.openxmlformats.org/officeDocument/2006/relationships/tags" Target="../tags/tag1179.xml"/><Relationship Id="rId34" Type="http://schemas.openxmlformats.org/officeDocument/2006/relationships/tags" Target="../tags/tag1174.xml"/><Relationship Id="rId50" Type="http://schemas.openxmlformats.org/officeDocument/2006/relationships/tags" Target="../tags/tag1190.xml"/><Relationship Id="rId55" Type="http://schemas.openxmlformats.org/officeDocument/2006/relationships/tags" Target="../tags/tag1195.xml"/><Relationship Id="rId76" Type="http://schemas.openxmlformats.org/officeDocument/2006/relationships/tags" Target="../tags/tag1216.xml"/><Relationship Id="rId7" Type="http://schemas.openxmlformats.org/officeDocument/2006/relationships/tags" Target="../tags/tag1147.xml"/><Relationship Id="rId71" Type="http://schemas.openxmlformats.org/officeDocument/2006/relationships/tags" Target="../tags/tag1211.xml"/><Relationship Id="rId2" Type="http://schemas.openxmlformats.org/officeDocument/2006/relationships/tags" Target="../tags/tag1142.xml"/><Relationship Id="rId29" Type="http://schemas.openxmlformats.org/officeDocument/2006/relationships/tags" Target="../tags/tag1169.xml"/><Relationship Id="rId24" Type="http://schemas.openxmlformats.org/officeDocument/2006/relationships/tags" Target="../tags/tag1164.xml"/><Relationship Id="rId40" Type="http://schemas.openxmlformats.org/officeDocument/2006/relationships/tags" Target="../tags/tag1180.xml"/><Relationship Id="rId45" Type="http://schemas.openxmlformats.org/officeDocument/2006/relationships/tags" Target="../tags/tag1185.xml"/><Relationship Id="rId66" Type="http://schemas.openxmlformats.org/officeDocument/2006/relationships/tags" Target="../tags/tag1206.xml"/><Relationship Id="rId87" Type="http://schemas.openxmlformats.org/officeDocument/2006/relationships/oleObject" Target="../embeddings/oleObject32.bin"/><Relationship Id="rId61" Type="http://schemas.openxmlformats.org/officeDocument/2006/relationships/tags" Target="../tags/tag1201.xml"/><Relationship Id="rId82" Type="http://schemas.openxmlformats.org/officeDocument/2006/relationships/tags" Target="../tags/tag1222.xml"/><Relationship Id="rId19" Type="http://schemas.openxmlformats.org/officeDocument/2006/relationships/tags" Target="../tags/tag1159.xml"/></Relationships>
</file>

<file path=ppt/slides/_rels/slide35.xml.rels><?xml version="1.0" encoding="UTF-8" standalone="yes"?>
<Relationships xmlns="http://schemas.openxmlformats.org/package/2006/relationships"><Relationship Id="rId26" Type="http://schemas.openxmlformats.org/officeDocument/2006/relationships/tags" Target="../tags/tag1249.xml"/><Relationship Id="rId21" Type="http://schemas.openxmlformats.org/officeDocument/2006/relationships/tags" Target="../tags/tag1244.xml"/><Relationship Id="rId42" Type="http://schemas.openxmlformats.org/officeDocument/2006/relationships/tags" Target="../tags/tag1265.xml"/><Relationship Id="rId47" Type="http://schemas.openxmlformats.org/officeDocument/2006/relationships/tags" Target="../tags/tag1270.xml"/><Relationship Id="rId63" Type="http://schemas.openxmlformats.org/officeDocument/2006/relationships/tags" Target="../tags/tag1286.xml"/><Relationship Id="rId68" Type="http://schemas.openxmlformats.org/officeDocument/2006/relationships/tags" Target="../tags/tag1291.xml"/><Relationship Id="rId84" Type="http://schemas.openxmlformats.org/officeDocument/2006/relationships/tags" Target="../tags/tag1307.xml"/><Relationship Id="rId89" Type="http://schemas.openxmlformats.org/officeDocument/2006/relationships/slideLayout" Target="../slideLayouts/slideLayout20.xml"/><Relationship Id="rId16" Type="http://schemas.openxmlformats.org/officeDocument/2006/relationships/tags" Target="../tags/tag1239.xml"/><Relationship Id="rId11" Type="http://schemas.openxmlformats.org/officeDocument/2006/relationships/tags" Target="../tags/tag1234.xml"/><Relationship Id="rId32" Type="http://schemas.openxmlformats.org/officeDocument/2006/relationships/tags" Target="../tags/tag1255.xml"/><Relationship Id="rId37" Type="http://schemas.openxmlformats.org/officeDocument/2006/relationships/tags" Target="../tags/tag1260.xml"/><Relationship Id="rId53" Type="http://schemas.openxmlformats.org/officeDocument/2006/relationships/tags" Target="../tags/tag1276.xml"/><Relationship Id="rId58" Type="http://schemas.openxmlformats.org/officeDocument/2006/relationships/tags" Target="../tags/tag1281.xml"/><Relationship Id="rId74" Type="http://schemas.openxmlformats.org/officeDocument/2006/relationships/tags" Target="../tags/tag1297.xml"/><Relationship Id="rId79" Type="http://schemas.openxmlformats.org/officeDocument/2006/relationships/tags" Target="../tags/tag1302.xml"/><Relationship Id="rId5" Type="http://schemas.openxmlformats.org/officeDocument/2006/relationships/tags" Target="../tags/tag1228.xml"/><Relationship Id="rId90" Type="http://schemas.openxmlformats.org/officeDocument/2006/relationships/oleObject" Target="../embeddings/oleObject33.bin"/><Relationship Id="rId14" Type="http://schemas.openxmlformats.org/officeDocument/2006/relationships/tags" Target="../tags/tag1237.xml"/><Relationship Id="rId22" Type="http://schemas.openxmlformats.org/officeDocument/2006/relationships/tags" Target="../tags/tag1245.xml"/><Relationship Id="rId27" Type="http://schemas.openxmlformats.org/officeDocument/2006/relationships/tags" Target="../tags/tag1250.xml"/><Relationship Id="rId30" Type="http://schemas.openxmlformats.org/officeDocument/2006/relationships/tags" Target="../tags/tag1253.xml"/><Relationship Id="rId35" Type="http://schemas.openxmlformats.org/officeDocument/2006/relationships/tags" Target="../tags/tag1258.xml"/><Relationship Id="rId43" Type="http://schemas.openxmlformats.org/officeDocument/2006/relationships/tags" Target="../tags/tag1266.xml"/><Relationship Id="rId48" Type="http://schemas.openxmlformats.org/officeDocument/2006/relationships/tags" Target="../tags/tag1271.xml"/><Relationship Id="rId56" Type="http://schemas.openxmlformats.org/officeDocument/2006/relationships/tags" Target="../tags/tag1279.xml"/><Relationship Id="rId64" Type="http://schemas.openxmlformats.org/officeDocument/2006/relationships/tags" Target="../tags/tag1287.xml"/><Relationship Id="rId69" Type="http://schemas.openxmlformats.org/officeDocument/2006/relationships/tags" Target="../tags/tag1292.xml"/><Relationship Id="rId77" Type="http://schemas.openxmlformats.org/officeDocument/2006/relationships/tags" Target="../tags/tag1300.xml"/><Relationship Id="rId8" Type="http://schemas.openxmlformats.org/officeDocument/2006/relationships/tags" Target="../tags/tag1231.xml"/><Relationship Id="rId51" Type="http://schemas.openxmlformats.org/officeDocument/2006/relationships/tags" Target="../tags/tag1274.xml"/><Relationship Id="rId72" Type="http://schemas.openxmlformats.org/officeDocument/2006/relationships/tags" Target="../tags/tag1295.xml"/><Relationship Id="rId80" Type="http://schemas.openxmlformats.org/officeDocument/2006/relationships/tags" Target="../tags/tag1303.xml"/><Relationship Id="rId85" Type="http://schemas.openxmlformats.org/officeDocument/2006/relationships/tags" Target="../tags/tag1308.xml"/><Relationship Id="rId3" Type="http://schemas.openxmlformats.org/officeDocument/2006/relationships/tags" Target="../tags/tag1226.xml"/><Relationship Id="rId12" Type="http://schemas.openxmlformats.org/officeDocument/2006/relationships/tags" Target="../tags/tag1235.xml"/><Relationship Id="rId17" Type="http://schemas.openxmlformats.org/officeDocument/2006/relationships/tags" Target="../tags/tag1240.xml"/><Relationship Id="rId25" Type="http://schemas.openxmlformats.org/officeDocument/2006/relationships/tags" Target="../tags/tag1248.xml"/><Relationship Id="rId33" Type="http://schemas.openxmlformats.org/officeDocument/2006/relationships/tags" Target="../tags/tag1256.xml"/><Relationship Id="rId38" Type="http://schemas.openxmlformats.org/officeDocument/2006/relationships/tags" Target="../tags/tag1261.xml"/><Relationship Id="rId46" Type="http://schemas.openxmlformats.org/officeDocument/2006/relationships/tags" Target="../tags/tag1269.xml"/><Relationship Id="rId59" Type="http://schemas.openxmlformats.org/officeDocument/2006/relationships/tags" Target="../tags/tag1282.xml"/><Relationship Id="rId67" Type="http://schemas.openxmlformats.org/officeDocument/2006/relationships/tags" Target="../tags/tag1290.xml"/><Relationship Id="rId20" Type="http://schemas.openxmlformats.org/officeDocument/2006/relationships/tags" Target="../tags/tag1243.xml"/><Relationship Id="rId41" Type="http://schemas.openxmlformats.org/officeDocument/2006/relationships/tags" Target="../tags/tag1264.xml"/><Relationship Id="rId54" Type="http://schemas.openxmlformats.org/officeDocument/2006/relationships/tags" Target="../tags/tag1277.xml"/><Relationship Id="rId62" Type="http://schemas.openxmlformats.org/officeDocument/2006/relationships/tags" Target="../tags/tag1285.xml"/><Relationship Id="rId70" Type="http://schemas.openxmlformats.org/officeDocument/2006/relationships/tags" Target="../tags/tag1293.xml"/><Relationship Id="rId75" Type="http://schemas.openxmlformats.org/officeDocument/2006/relationships/tags" Target="../tags/tag1298.xml"/><Relationship Id="rId83" Type="http://schemas.openxmlformats.org/officeDocument/2006/relationships/tags" Target="../tags/tag1306.xml"/><Relationship Id="rId88" Type="http://schemas.openxmlformats.org/officeDocument/2006/relationships/tags" Target="../tags/tag1311.xml"/><Relationship Id="rId91" Type="http://schemas.openxmlformats.org/officeDocument/2006/relationships/image" Target="../media/image10.emf"/><Relationship Id="rId1" Type="http://schemas.openxmlformats.org/officeDocument/2006/relationships/vmlDrawing" Target="../drawings/vmlDrawing33.vml"/><Relationship Id="rId6" Type="http://schemas.openxmlformats.org/officeDocument/2006/relationships/tags" Target="../tags/tag1229.xml"/><Relationship Id="rId15" Type="http://schemas.openxmlformats.org/officeDocument/2006/relationships/tags" Target="../tags/tag1238.xml"/><Relationship Id="rId23" Type="http://schemas.openxmlformats.org/officeDocument/2006/relationships/tags" Target="../tags/tag1246.xml"/><Relationship Id="rId28" Type="http://schemas.openxmlformats.org/officeDocument/2006/relationships/tags" Target="../tags/tag1251.xml"/><Relationship Id="rId36" Type="http://schemas.openxmlformats.org/officeDocument/2006/relationships/tags" Target="../tags/tag1259.xml"/><Relationship Id="rId49" Type="http://schemas.openxmlformats.org/officeDocument/2006/relationships/tags" Target="../tags/tag1272.xml"/><Relationship Id="rId57" Type="http://schemas.openxmlformats.org/officeDocument/2006/relationships/tags" Target="../tags/tag1280.xml"/><Relationship Id="rId10" Type="http://schemas.openxmlformats.org/officeDocument/2006/relationships/tags" Target="../tags/tag1233.xml"/><Relationship Id="rId31" Type="http://schemas.openxmlformats.org/officeDocument/2006/relationships/tags" Target="../tags/tag1254.xml"/><Relationship Id="rId44" Type="http://schemas.openxmlformats.org/officeDocument/2006/relationships/tags" Target="../tags/tag1267.xml"/><Relationship Id="rId52" Type="http://schemas.openxmlformats.org/officeDocument/2006/relationships/tags" Target="../tags/tag1275.xml"/><Relationship Id="rId60" Type="http://schemas.openxmlformats.org/officeDocument/2006/relationships/tags" Target="../tags/tag1283.xml"/><Relationship Id="rId65" Type="http://schemas.openxmlformats.org/officeDocument/2006/relationships/tags" Target="../tags/tag1288.xml"/><Relationship Id="rId73" Type="http://schemas.openxmlformats.org/officeDocument/2006/relationships/tags" Target="../tags/tag1296.xml"/><Relationship Id="rId78" Type="http://schemas.openxmlformats.org/officeDocument/2006/relationships/tags" Target="../tags/tag1301.xml"/><Relationship Id="rId81" Type="http://schemas.openxmlformats.org/officeDocument/2006/relationships/tags" Target="../tags/tag1304.xml"/><Relationship Id="rId86" Type="http://schemas.openxmlformats.org/officeDocument/2006/relationships/tags" Target="../tags/tag1309.xml"/><Relationship Id="rId4" Type="http://schemas.openxmlformats.org/officeDocument/2006/relationships/tags" Target="../tags/tag1227.xml"/><Relationship Id="rId9" Type="http://schemas.openxmlformats.org/officeDocument/2006/relationships/tags" Target="../tags/tag1232.xml"/><Relationship Id="rId13" Type="http://schemas.openxmlformats.org/officeDocument/2006/relationships/tags" Target="../tags/tag1236.xml"/><Relationship Id="rId18" Type="http://schemas.openxmlformats.org/officeDocument/2006/relationships/tags" Target="../tags/tag1241.xml"/><Relationship Id="rId39" Type="http://schemas.openxmlformats.org/officeDocument/2006/relationships/tags" Target="../tags/tag1262.xml"/><Relationship Id="rId34" Type="http://schemas.openxmlformats.org/officeDocument/2006/relationships/tags" Target="../tags/tag1257.xml"/><Relationship Id="rId50" Type="http://schemas.openxmlformats.org/officeDocument/2006/relationships/tags" Target="../tags/tag1273.xml"/><Relationship Id="rId55" Type="http://schemas.openxmlformats.org/officeDocument/2006/relationships/tags" Target="../tags/tag1278.xml"/><Relationship Id="rId76" Type="http://schemas.openxmlformats.org/officeDocument/2006/relationships/tags" Target="../tags/tag1299.xml"/><Relationship Id="rId7" Type="http://schemas.openxmlformats.org/officeDocument/2006/relationships/tags" Target="../tags/tag1230.xml"/><Relationship Id="rId71" Type="http://schemas.openxmlformats.org/officeDocument/2006/relationships/tags" Target="../tags/tag1294.xml"/><Relationship Id="rId92" Type="http://schemas.openxmlformats.org/officeDocument/2006/relationships/chart" Target="../charts/chart33.xml"/><Relationship Id="rId2" Type="http://schemas.openxmlformats.org/officeDocument/2006/relationships/tags" Target="../tags/tag1225.xml"/><Relationship Id="rId29" Type="http://schemas.openxmlformats.org/officeDocument/2006/relationships/tags" Target="../tags/tag1252.xml"/><Relationship Id="rId24" Type="http://schemas.openxmlformats.org/officeDocument/2006/relationships/tags" Target="../tags/tag1247.xml"/><Relationship Id="rId40" Type="http://schemas.openxmlformats.org/officeDocument/2006/relationships/tags" Target="../tags/tag1263.xml"/><Relationship Id="rId45" Type="http://schemas.openxmlformats.org/officeDocument/2006/relationships/tags" Target="../tags/tag1268.xml"/><Relationship Id="rId66" Type="http://schemas.openxmlformats.org/officeDocument/2006/relationships/tags" Target="../tags/tag1289.xml"/><Relationship Id="rId87" Type="http://schemas.openxmlformats.org/officeDocument/2006/relationships/tags" Target="../tags/tag1310.xml"/><Relationship Id="rId61" Type="http://schemas.openxmlformats.org/officeDocument/2006/relationships/tags" Target="../tags/tag1284.xml"/><Relationship Id="rId82" Type="http://schemas.openxmlformats.org/officeDocument/2006/relationships/tags" Target="../tags/tag1305.xml"/><Relationship Id="rId19" Type="http://schemas.openxmlformats.org/officeDocument/2006/relationships/tags" Target="../tags/tag124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66.png"/><Relationship Id="rId2" Type="http://schemas.openxmlformats.org/officeDocument/2006/relationships/tags" Target="../tags/tag131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2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1314.xml"/><Relationship Id="rId7" Type="http://schemas.openxmlformats.org/officeDocument/2006/relationships/image" Target="../media/image3.emf"/><Relationship Id="rId2" Type="http://schemas.openxmlformats.org/officeDocument/2006/relationships/tags" Target="../tags/tag1313.xml"/><Relationship Id="rId1" Type="http://schemas.openxmlformats.org/officeDocument/2006/relationships/vmlDrawing" Target="../drawings/vmlDrawing35.vml"/><Relationship Id="rId6" Type="http://schemas.openxmlformats.org/officeDocument/2006/relationships/oleObject" Target="../embeddings/oleObject35.bin"/><Relationship Id="rId5" Type="http://schemas.openxmlformats.org/officeDocument/2006/relationships/notesSlide" Target="../notesSlides/notesSlide24.xml"/><Relationship Id="rId4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13" Type="http://schemas.openxmlformats.org/officeDocument/2006/relationships/image" Target="../media/image75.sv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69.svg"/><Relationship Id="rId12" Type="http://schemas.openxmlformats.org/officeDocument/2006/relationships/image" Target="../media/image74.png"/><Relationship Id="rId2" Type="http://schemas.openxmlformats.org/officeDocument/2006/relationships/tags" Target="../tags/tag131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68.png"/><Relationship Id="rId11" Type="http://schemas.openxmlformats.org/officeDocument/2006/relationships/image" Target="../media/image73.svg"/><Relationship Id="rId5" Type="http://schemas.openxmlformats.org/officeDocument/2006/relationships/image" Target="../media/image10.emf"/><Relationship Id="rId15" Type="http://schemas.openxmlformats.org/officeDocument/2006/relationships/image" Target="../media/image77.svg"/><Relationship Id="rId10" Type="http://schemas.openxmlformats.org/officeDocument/2006/relationships/image" Target="../media/image72.pn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71.svg"/><Relationship Id="rId14" Type="http://schemas.openxmlformats.org/officeDocument/2006/relationships/image" Target="../media/image76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svg"/><Relationship Id="rId13" Type="http://schemas.openxmlformats.org/officeDocument/2006/relationships/image" Target="../media/image84.png"/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78.png"/><Relationship Id="rId12" Type="http://schemas.openxmlformats.org/officeDocument/2006/relationships/image" Target="../media/image83.svg"/><Relationship Id="rId2" Type="http://schemas.openxmlformats.org/officeDocument/2006/relationships/tags" Target="../tags/tag1316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0.emf"/><Relationship Id="rId11" Type="http://schemas.openxmlformats.org/officeDocument/2006/relationships/image" Target="../media/image82.png"/><Relationship Id="rId5" Type="http://schemas.openxmlformats.org/officeDocument/2006/relationships/oleObject" Target="../embeddings/oleObject37.bin"/><Relationship Id="rId10" Type="http://schemas.openxmlformats.org/officeDocument/2006/relationships/image" Target="../media/image81.sv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80.png"/><Relationship Id="rId14" Type="http://schemas.openxmlformats.org/officeDocument/2006/relationships/image" Target="../media/image8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tags" Target="../tags/tag1317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8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tags" Target="../tags/tag1319.xml"/><Relationship Id="rId7" Type="http://schemas.openxmlformats.org/officeDocument/2006/relationships/image" Target="../media/image3.emf"/><Relationship Id="rId2" Type="http://schemas.openxmlformats.org/officeDocument/2006/relationships/tags" Target="../tags/tag1318.xml"/><Relationship Id="rId1" Type="http://schemas.openxmlformats.org/officeDocument/2006/relationships/vmlDrawing" Target="../drawings/vmlDrawing39.vml"/><Relationship Id="rId6" Type="http://schemas.openxmlformats.org/officeDocument/2006/relationships/oleObject" Target="../embeddings/oleObject39.bin"/><Relationship Id="rId5" Type="http://schemas.openxmlformats.org/officeDocument/2006/relationships/notesSlide" Target="../notesSlides/notesSlide26.xml"/><Relationship Id="rId4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emf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10.emf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9.bin"/><Relationship Id="rId5" Type="http://schemas.openxmlformats.org/officeDocument/2006/relationships/tags" Target="../tags/tag18.xml"/><Relationship Id="rId15" Type="http://schemas.openxmlformats.org/officeDocument/2006/relationships/chart" Target="../charts/chart1.xml"/><Relationship Id="rId10" Type="http://schemas.openxmlformats.org/officeDocument/2006/relationships/slideLayout" Target="../slideLayouts/slideLayout20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F1BB65-0B57-46CF-9B88-FD0F82A2567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89983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14AF4F5-42F1-4C53-8BF8-C061C213B2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3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"/>
            <a:ext cx="12192000" cy="4585649"/>
          </a:xfrm>
          <a:prstGeom prst="rect">
            <a:avLst/>
          </a:prstGeom>
          <a:solidFill>
            <a:srgbClr val="0033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33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2387" y="2447129"/>
            <a:ext cx="11059291" cy="1810235"/>
          </a:xfrm>
        </p:spPr>
        <p:txBody>
          <a:bodyPr vert="horz">
            <a:noAutofit/>
          </a:bodyPr>
          <a:lstStyle/>
          <a:p>
            <a:pPr algn="l">
              <a:lnSpc>
                <a:spcPct val="100000"/>
              </a:lnSpc>
            </a:pPr>
            <a:r>
              <a:rPr lang="fr-FR" sz="3400" b="1" cap="none" spc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sultats de la cartographie des ressources du PNDSS (2019-2023)</a:t>
            </a:r>
            <a:br>
              <a:rPr lang="fr-FR" sz="3400" b="1" cap="none" spc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2000" b="1" cap="none" spc="0" dirty="0">
                <a:solidFill>
                  <a:schemeClr val="accent5">
                    <a:lumMod val="20000"/>
                    <a:lumOff val="8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 Juillet 2021</a:t>
            </a:r>
            <a:endParaRPr lang="fr-FR" sz="3400" i="1" cap="none" spc="0" dirty="0">
              <a:solidFill>
                <a:schemeClr val="accent5">
                  <a:lumMod val="20000"/>
                  <a:lumOff val="8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C9F2C7D-5D83-4D4E-BC89-3F22558465B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005" y="5172957"/>
            <a:ext cx="1565201" cy="961142"/>
          </a:xfrm>
          <a:prstGeom prst="rect">
            <a:avLst/>
          </a:prstGeom>
        </p:spPr>
      </p:pic>
      <p:pic>
        <p:nvPicPr>
          <p:cNvPr id="11" name="Picture 10" descr="A picture containing logo&#10;&#10;Description automatically generated">
            <a:extLst>
              <a:ext uri="{FF2B5EF4-FFF2-40B4-BE49-F238E27FC236}">
                <a16:creationId xmlns:a16="http://schemas.microsoft.com/office/drawing/2014/main" id="{2562B893-B35B-4CEA-8551-13A56D221A7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86504"/>
          <a:stretch/>
        </p:blipFill>
        <p:spPr>
          <a:xfrm>
            <a:off x="152079" y="4638435"/>
            <a:ext cx="1361813" cy="1905904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5B64B0E6-69C0-45CF-991B-6D7DB1AB3D8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88802" y="5251238"/>
            <a:ext cx="1676400" cy="882861"/>
          </a:xfrm>
          <a:prstGeom prst="rect">
            <a:avLst/>
          </a:prstGeom>
        </p:spPr>
      </p:pic>
      <p:pic>
        <p:nvPicPr>
          <p:cNvPr id="13" name="Picture 12" descr="Logo, company name&#10;&#10;Description automatically generated">
            <a:extLst>
              <a:ext uri="{FF2B5EF4-FFF2-40B4-BE49-F238E27FC236}">
                <a16:creationId xmlns:a16="http://schemas.microsoft.com/office/drawing/2014/main" id="{6B47B0A8-7C5E-4AFD-BC62-71B281802A9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289786" y="5060069"/>
            <a:ext cx="1921635" cy="1150231"/>
          </a:xfrm>
          <a:prstGeom prst="rect">
            <a:avLst/>
          </a:prstGeom>
        </p:spPr>
      </p:pic>
      <p:pic>
        <p:nvPicPr>
          <p:cNvPr id="14" name="Picture 13" descr="A picture containing shape&#10;&#10;Description automatically generated">
            <a:extLst>
              <a:ext uri="{FF2B5EF4-FFF2-40B4-BE49-F238E27FC236}">
                <a16:creationId xmlns:a16="http://schemas.microsoft.com/office/drawing/2014/main" id="{EA72427C-D792-460C-AE01-85440D88659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52606" y="4944880"/>
            <a:ext cx="4250593" cy="1431033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DBC59E7-D656-4093-B8EA-01689FA08215}"/>
              </a:ext>
            </a:extLst>
          </p:cNvPr>
          <p:cNvCxnSpPr/>
          <p:nvPr/>
        </p:nvCxnSpPr>
        <p:spPr>
          <a:xfrm>
            <a:off x="6096000" y="4944880"/>
            <a:ext cx="0" cy="14310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82336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4B54796-764D-46D9-A21B-746E1B8C177B}"/>
              </a:ext>
            </a:extLst>
          </p:cNvPr>
          <p:cNvGrpSpPr/>
          <p:nvPr/>
        </p:nvGrpSpPr>
        <p:grpSpPr>
          <a:xfrm>
            <a:off x="3023317" y="1180992"/>
            <a:ext cx="8962418" cy="5374034"/>
            <a:chOff x="413707" y="1447800"/>
            <a:chExt cx="8314619" cy="488632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7778987-0F0E-4BAA-BB42-CD8ED72EEABF}"/>
                </a:ext>
              </a:extLst>
            </p:cNvPr>
            <p:cNvCxnSpPr/>
            <p:nvPr/>
          </p:nvCxnSpPr>
          <p:spPr>
            <a:xfrm>
              <a:off x="415926" y="262512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8826612-395F-4D63-A4BF-6505E9063FD3}"/>
                </a:ext>
              </a:extLst>
            </p:cNvPr>
            <p:cNvGrpSpPr/>
            <p:nvPr/>
          </p:nvGrpSpPr>
          <p:grpSpPr>
            <a:xfrm>
              <a:off x="415926" y="2713640"/>
              <a:ext cx="8310182" cy="1867308"/>
              <a:chOff x="415926" y="4119747"/>
              <a:chExt cx="8310182" cy="378133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4DE8D54-6549-44AB-905A-4B3DB599ADA3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37813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Méthodologie et hypothèses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0A448B3-58BA-4AD9-83F9-72C23680D431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37510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Projection des données jusqu'en 2023 en utilisant les taux de croissance historiques (10%)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Création de clés de répartition par catégories programmatiques et de coûts 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Inclusion des dépenses liées aux services de santé et aux impôts pour l'assurance maladie dans l'analyse PNDSS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Inclusion des programmes spécifiques à SRMNIA dans l'analyse du DI SRMNIA 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484CA54-9025-426E-803B-1E575BBDB38A}"/>
                </a:ext>
              </a:extLst>
            </p:cNvPr>
            <p:cNvGrpSpPr/>
            <p:nvPr/>
          </p:nvGrpSpPr>
          <p:grpSpPr>
            <a:xfrm>
              <a:off x="415926" y="1447800"/>
              <a:ext cx="8310182" cy="1088804"/>
              <a:chOff x="415926" y="1447800"/>
              <a:chExt cx="8310182" cy="2204852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FABCAED-B719-4F11-B8C3-732B082120BF}"/>
                  </a:ext>
                </a:extLst>
              </p:cNvPr>
              <p:cNvSpPr/>
              <p:nvPr/>
            </p:nvSpPr>
            <p:spPr>
              <a:xfrm>
                <a:off x="415926" y="1447800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>
                    <a:solidFill>
                      <a:srgbClr val="FFFFFF"/>
                    </a:solidFill>
                  </a:rPr>
                  <a:t>Source des données</a:t>
                </a:r>
                <a:endParaRPr lang="fr-FR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8439269-FBA9-4D9D-87D1-9CFA7003D1E7}"/>
                  </a:ext>
                </a:extLst>
              </p:cNvPr>
              <p:cNvSpPr/>
              <p:nvPr/>
            </p:nvSpPr>
            <p:spPr>
              <a:xfrm>
                <a:off x="1981200" y="1447800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b="1" dirty="0">
                    <a:solidFill>
                      <a:srgbClr val="000000"/>
                    </a:solidFill>
                  </a:rPr>
                  <a:t>Données des comptes de la santé 2014-2016 </a:t>
                </a:r>
                <a:r>
                  <a:rPr lang="fr-FR" sz="1700" dirty="0">
                    <a:solidFill>
                      <a:srgbClr val="000000"/>
                    </a:solidFill>
                  </a:rPr>
                  <a:t>sur la contribution de secteur privé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Les données comprennent la répartition par facteurs de prestation de soins de santé et par maladies et affections.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9BD0637-F69C-4FFE-8D26-B2EDEF360788}"/>
                </a:ext>
              </a:extLst>
            </p:cNvPr>
            <p:cNvGrpSpPr/>
            <p:nvPr/>
          </p:nvGrpSpPr>
          <p:grpSpPr>
            <a:xfrm>
              <a:off x="415926" y="4788045"/>
              <a:ext cx="8310181" cy="718619"/>
              <a:chOff x="415926" y="5757113"/>
              <a:chExt cx="8310181" cy="1455220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4D0A1EB-1867-4EAE-AD66-DDDA047C078F}"/>
                  </a:ext>
                </a:extLst>
              </p:cNvPr>
              <p:cNvSpPr/>
              <p:nvPr/>
            </p:nvSpPr>
            <p:spPr>
              <a:xfrm>
                <a:off x="415926" y="5757116"/>
                <a:ext cx="1403590" cy="145521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Limites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303F6EF-44A3-4BB7-9E05-F045D5A4A71A}"/>
                  </a:ext>
                </a:extLst>
              </p:cNvPr>
              <p:cNvSpPr/>
              <p:nvPr/>
            </p:nvSpPr>
            <p:spPr>
              <a:xfrm>
                <a:off x="1981199" y="5757113"/>
                <a:ext cx="6744908" cy="14249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Données historiques basées sur les données des comptes de la santé 2014-2016 qui ne tiennent pas compte de l'effet du COVID19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9CCFEDA-4443-4AD0-9DB6-3F300A156414}"/>
                </a:ext>
              </a:extLst>
            </p:cNvPr>
            <p:cNvCxnSpPr/>
            <p:nvPr/>
          </p:nvCxnSpPr>
          <p:spPr>
            <a:xfrm>
              <a:off x="413707" y="4669469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30581B5-310C-4EFE-B8BC-AA5A1CFD1023}"/>
                </a:ext>
              </a:extLst>
            </p:cNvPr>
            <p:cNvGrpSpPr/>
            <p:nvPr/>
          </p:nvGrpSpPr>
          <p:grpSpPr>
            <a:xfrm>
              <a:off x="415926" y="5664812"/>
              <a:ext cx="8310182" cy="669312"/>
              <a:chOff x="415926" y="4969227"/>
              <a:chExt cx="8310182" cy="1355372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6E0D68B-BF5F-4FF5-B6B6-9B41EA7A23C7}"/>
                  </a:ext>
                </a:extLst>
              </p:cNvPr>
              <p:cNvSpPr/>
              <p:nvPr/>
            </p:nvSpPr>
            <p:spPr>
              <a:xfrm>
                <a:off x="415926" y="4969227"/>
                <a:ext cx="1403590" cy="135537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Résultats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02FA511-E89F-4110-B427-B2D6DD36440B}"/>
                  </a:ext>
                </a:extLst>
              </p:cNvPr>
              <p:cNvSpPr/>
              <p:nvPr/>
            </p:nvSpPr>
            <p:spPr>
              <a:xfrm>
                <a:off x="1981200" y="5007483"/>
                <a:ext cx="6744908" cy="13171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Prise en compte de la contribution du secteur privé dans les analyses du PNDSS et du DI SRMNIA </a:t>
                </a:r>
              </a:p>
            </p:txBody>
          </p: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4409580-CD21-46D8-8F56-783E9ACD0C52}"/>
                </a:ext>
              </a:extLst>
            </p:cNvPr>
            <p:cNvCxnSpPr/>
            <p:nvPr/>
          </p:nvCxnSpPr>
          <p:spPr>
            <a:xfrm>
              <a:off x="413708" y="5595185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phic 19" descr="City with solid fill">
            <a:extLst>
              <a:ext uri="{FF2B5EF4-FFF2-40B4-BE49-F238E27FC236}">
                <a16:creationId xmlns:a16="http://schemas.microsoft.com/office/drawing/2014/main" id="{97531F42-36BD-4F3A-AD0C-F941B2F8BE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9359" y="1093931"/>
            <a:ext cx="1371600" cy="1371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D66667E-0838-49B6-B46E-41EA5737FFE4}"/>
              </a:ext>
            </a:extLst>
          </p:cNvPr>
          <p:cNvSpPr txBox="1">
            <a:spLocks noChangeAspect="1"/>
          </p:cNvSpPr>
          <p:nvPr/>
        </p:nvSpPr>
        <p:spPr>
          <a:xfrm>
            <a:off x="313086" y="2475824"/>
            <a:ext cx="2304146" cy="468388"/>
          </a:xfrm>
          <a:prstGeom prst="rect">
            <a:avLst/>
          </a:prstGeom>
          <a:solidFill>
            <a:srgbClr val="1F497D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Ressources du secteur privé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C3C66BB8-E2CD-46C9-B8F3-376988AD45CD}"/>
              </a:ext>
            </a:extLst>
          </p:cNvPr>
          <p:cNvSpPr txBox="1">
            <a:spLocks/>
          </p:cNvSpPr>
          <p:nvPr/>
        </p:nvSpPr>
        <p:spPr>
          <a:xfrm>
            <a:off x="227105" y="71515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 ressources du secteur privé</a:t>
            </a:r>
          </a:p>
        </p:txBody>
      </p:sp>
    </p:spTree>
    <p:extLst>
      <p:ext uri="{BB962C8B-B14F-4D97-AF65-F5344CB8AC3E}">
        <p14:creationId xmlns:p14="http://schemas.microsoft.com/office/powerpoint/2010/main" val="38361678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0D0DEB5-FD8C-4157-97CE-EF5BC53124C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0D0DEB5-FD8C-4157-97CE-EF5BC53124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F7E706B-EF27-40BD-8599-1CD0C180BCC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Rectangle 26"/>
          <p:cNvSpPr/>
          <p:nvPr/>
        </p:nvSpPr>
        <p:spPr>
          <a:xfrm>
            <a:off x="1027335" y="1442833"/>
            <a:ext cx="4130454" cy="1461072"/>
          </a:xfrm>
          <a:custGeom>
            <a:avLst/>
            <a:gdLst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0 w 4993859"/>
              <a:gd name="connsiteY3" fmla="*/ 1097280 h 1097280"/>
              <a:gd name="connsiteX4" fmla="*/ 0 w 4993859"/>
              <a:gd name="connsiteY4" fmla="*/ 0 h 1097280"/>
              <a:gd name="connsiteX0" fmla="*/ 0 w 4993859"/>
              <a:gd name="connsiteY0" fmla="*/ 0 h 1188720"/>
              <a:gd name="connsiteX1" fmla="*/ 4993859 w 4993859"/>
              <a:gd name="connsiteY1" fmla="*/ 0 h 1188720"/>
              <a:gd name="connsiteX2" fmla="*/ 4993859 w 4993859"/>
              <a:gd name="connsiteY2" fmla="*/ 1097280 h 1188720"/>
              <a:gd name="connsiteX3" fmla="*/ 91440 w 4993859"/>
              <a:gd name="connsiteY3" fmla="*/ 1188720 h 118872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87120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72606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93859" h="1097280">
                <a:moveTo>
                  <a:pt x="0" y="0"/>
                </a:moveTo>
                <a:lnTo>
                  <a:pt x="4993859" y="0"/>
                </a:lnTo>
                <a:lnTo>
                  <a:pt x="4993859" y="1097280"/>
                </a:lnTo>
                <a:cubicBezTo>
                  <a:pt x="3330691" y="1084217"/>
                  <a:pt x="4962266" y="1100183"/>
                  <a:pt x="4355" y="1072606"/>
                </a:cubicBezTo>
              </a:path>
            </a:pathLst>
          </a:custGeom>
          <a:noFill/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-11868"/>
            <a:ext cx="12192000" cy="1050877"/>
          </a:xfrm>
          <a:prstGeom prst="rect">
            <a:avLst/>
          </a:prstGeom>
          <a:solidFill>
            <a:srgbClr val="0033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456" y="103236"/>
            <a:ext cx="11527741" cy="710437"/>
          </a:xfrm>
        </p:spPr>
        <p:txBody>
          <a:bodyPr vert="horz"/>
          <a:lstStyle/>
          <a:p>
            <a:pPr marL="0" lvl="1" rtl="0">
              <a:spcBef>
                <a:spcPct val="0"/>
              </a:spcBef>
            </a:pPr>
            <a:r>
              <a:rPr lang="fr-FR" sz="24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its de la cartographie des ressources </a:t>
            </a:r>
            <a:endParaRPr lang="en-US" sz="2400" kern="0" dirty="0">
              <a:solidFill>
                <a:schemeClr val="accent3">
                  <a:lumMod val="9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1940451" y="1608865"/>
            <a:ext cx="3088749" cy="108961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utils dynamiques: 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cte de donné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tion des donné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fr-FR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sation des données</a:t>
            </a:r>
          </a:p>
        </p:txBody>
      </p:sp>
      <p:sp>
        <p:nvSpPr>
          <p:cNvPr id="25" name="Rectangle 26">
            <a:extLst>
              <a:ext uri="{FF2B5EF4-FFF2-40B4-BE49-F238E27FC236}">
                <a16:creationId xmlns:a16="http://schemas.microsoft.com/office/drawing/2014/main" id="{BC400C23-F56C-4EA2-8AA1-B6F08DBEC717}"/>
              </a:ext>
            </a:extLst>
          </p:cNvPr>
          <p:cNvSpPr/>
          <p:nvPr/>
        </p:nvSpPr>
        <p:spPr>
          <a:xfrm>
            <a:off x="7194773" y="1442833"/>
            <a:ext cx="4130454" cy="1461072"/>
          </a:xfrm>
          <a:custGeom>
            <a:avLst/>
            <a:gdLst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0 w 4993859"/>
              <a:gd name="connsiteY3" fmla="*/ 1097280 h 1097280"/>
              <a:gd name="connsiteX4" fmla="*/ 0 w 4993859"/>
              <a:gd name="connsiteY4" fmla="*/ 0 h 1097280"/>
              <a:gd name="connsiteX0" fmla="*/ 0 w 4993859"/>
              <a:gd name="connsiteY0" fmla="*/ 0 h 1188720"/>
              <a:gd name="connsiteX1" fmla="*/ 4993859 w 4993859"/>
              <a:gd name="connsiteY1" fmla="*/ 0 h 1188720"/>
              <a:gd name="connsiteX2" fmla="*/ 4993859 w 4993859"/>
              <a:gd name="connsiteY2" fmla="*/ 1097280 h 1188720"/>
              <a:gd name="connsiteX3" fmla="*/ 91440 w 4993859"/>
              <a:gd name="connsiteY3" fmla="*/ 1188720 h 118872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87120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72606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93859" h="1097280">
                <a:moveTo>
                  <a:pt x="0" y="0"/>
                </a:moveTo>
                <a:lnTo>
                  <a:pt x="4993859" y="0"/>
                </a:lnTo>
                <a:lnTo>
                  <a:pt x="4993859" y="1097280"/>
                </a:lnTo>
                <a:cubicBezTo>
                  <a:pt x="3330691" y="1084217"/>
                  <a:pt x="4962266" y="1100183"/>
                  <a:pt x="4355" y="1072606"/>
                </a:cubicBezTo>
              </a:path>
            </a:pathLst>
          </a:custGeom>
          <a:noFill/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 26">
            <a:extLst>
              <a:ext uri="{FF2B5EF4-FFF2-40B4-BE49-F238E27FC236}">
                <a16:creationId xmlns:a16="http://schemas.microsoft.com/office/drawing/2014/main" id="{CFE0124F-4F6C-4411-BB11-68E1D7B77131}"/>
              </a:ext>
            </a:extLst>
          </p:cNvPr>
          <p:cNvSpPr/>
          <p:nvPr/>
        </p:nvSpPr>
        <p:spPr>
          <a:xfrm>
            <a:off x="1022572" y="3181157"/>
            <a:ext cx="4130454" cy="1461072"/>
          </a:xfrm>
          <a:custGeom>
            <a:avLst/>
            <a:gdLst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0 w 4993859"/>
              <a:gd name="connsiteY3" fmla="*/ 1097280 h 1097280"/>
              <a:gd name="connsiteX4" fmla="*/ 0 w 4993859"/>
              <a:gd name="connsiteY4" fmla="*/ 0 h 1097280"/>
              <a:gd name="connsiteX0" fmla="*/ 0 w 4993859"/>
              <a:gd name="connsiteY0" fmla="*/ 0 h 1188720"/>
              <a:gd name="connsiteX1" fmla="*/ 4993859 w 4993859"/>
              <a:gd name="connsiteY1" fmla="*/ 0 h 1188720"/>
              <a:gd name="connsiteX2" fmla="*/ 4993859 w 4993859"/>
              <a:gd name="connsiteY2" fmla="*/ 1097280 h 1188720"/>
              <a:gd name="connsiteX3" fmla="*/ 91440 w 4993859"/>
              <a:gd name="connsiteY3" fmla="*/ 1188720 h 118872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87120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72606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93859" h="1097280">
                <a:moveTo>
                  <a:pt x="0" y="0"/>
                </a:moveTo>
                <a:lnTo>
                  <a:pt x="4993859" y="0"/>
                </a:lnTo>
                <a:lnTo>
                  <a:pt x="4993859" y="1097280"/>
                </a:lnTo>
                <a:cubicBezTo>
                  <a:pt x="3330691" y="1084217"/>
                  <a:pt x="4962266" y="1100183"/>
                  <a:pt x="4355" y="1072606"/>
                </a:cubicBezTo>
              </a:path>
            </a:pathLst>
          </a:custGeom>
          <a:noFill/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Rectangle 26">
            <a:extLst>
              <a:ext uri="{FF2B5EF4-FFF2-40B4-BE49-F238E27FC236}">
                <a16:creationId xmlns:a16="http://schemas.microsoft.com/office/drawing/2014/main" id="{7B8499A5-1F69-43DD-9CD4-303853F8251E}"/>
              </a:ext>
            </a:extLst>
          </p:cNvPr>
          <p:cNvSpPr/>
          <p:nvPr/>
        </p:nvSpPr>
        <p:spPr>
          <a:xfrm>
            <a:off x="7190010" y="3181157"/>
            <a:ext cx="4130454" cy="1461072"/>
          </a:xfrm>
          <a:custGeom>
            <a:avLst/>
            <a:gdLst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0 w 4993859"/>
              <a:gd name="connsiteY3" fmla="*/ 1097280 h 1097280"/>
              <a:gd name="connsiteX4" fmla="*/ 0 w 4993859"/>
              <a:gd name="connsiteY4" fmla="*/ 0 h 1097280"/>
              <a:gd name="connsiteX0" fmla="*/ 0 w 4993859"/>
              <a:gd name="connsiteY0" fmla="*/ 0 h 1188720"/>
              <a:gd name="connsiteX1" fmla="*/ 4993859 w 4993859"/>
              <a:gd name="connsiteY1" fmla="*/ 0 h 1188720"/>
              <a:gd name="connsiteX2" fmla="*/ 4993859 w 4993859"/>
              <a:gd name="connsiteY2" fmla="*/ 1097280 h 1188720"/>
              <a:gd name="connsiteX3" fmla="*/ 91440 w 4993859"/>
              <a:gd name="connsiteY3" fmla="*/ 1188720 h 118872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87120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72606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93859" h="1097280">
                <a:moveTo>
                  <a:pt x="0" y="0"/>
                </a:moveTo>
                <a:lnTo>
                  <a:pt x="4993859" y="0"/>
                </a:lnTo>
                <a:lnTo>
                  <a:pt x="4993859" y="1097280"/>
                </a:lnTo>
                <a:cubicBezTo>
                  <a:pt x="3330691" y="1084217"/>
                  <a:pt x="4962266" y="1100183"/>
                  <a:pt x="4355" y="1072606"/>
                </a:cubicBezTo>
              </a:path>
            </a:pathLst>
          </a:custGeom>
          <a:noFill/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26">
            <a:extLst>
              <a:ext uri="{FF2B5EF4-FFF2-40B4-BE49-F238E27FC236}">
                <a16:creationId xmlns:a16="http://schemas.microsoft.com/office/drawing/2014/main" id="{94F21759-3336-44DF-AD23-9A5B8622126C}"/>
              </a:ext>
            </a:extLst>
          </p:cNvPr>
          <p:cNvSpPr/>
          <p:nvPr/>
        </p:nvSpPr>
        <p:spPr>
          <a:xfrm>
            <a:off x="1046380" y="5005197"/>
            <a:ext cx="4130454" cy="1461072"/>
          </a:xfrm>
          <a:custGeom>
            <a:avLst/>
            <a:gdLst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0 w 4993859"/>
              <a:gd name="connsiteY3" fmla="*/ 1097280 h 1097280"/>
              <a:gd name="connsiteX4" fmla="*/ 0 w 4993859"/>
              <a:gd name="connsiteY4" fmla="*/ 0 h 1097280"/>
              <a:gd name="connsiteX0" fmla="*/ 0 w 4993859"/>
              <a:gd name="connsiteY0" fmla="*/ 0 h 1188720"/>
              <a:gd name="connsiteX1" fmla="*/ 4993859 w 4993859"/>
              <a:gd name="connsiteY1" fmla="*/ 0 h 1188720"/>
              <a:gd name="connsiteX2" fmla="*/ 4993859 w 4993859"/>
              <a:gd name="connsiteY2" fmla="*/ 1097280 h 1188720"/>
              <a:gd name="connsiteX3" fmla="*/ 91440 w 4993859"/>
              <a:gd name="connsiteY3" fmla="*/ 1188720 h 118872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87120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72606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93859" h="1097280">
                <a:moveTo>
                  <a:pt x="0" y="0"/>
                </a:moveTo>
                <a:lnTo>
                  <a:pt x="4993859" y="0"/>
                </a:lnTo>
                <a:lnTo>
                  <a:pt x="4993859" y="1097280"/>
                </a:lnTo>
                <a:cubicBezTo>
                  <a:pt x="3330691" y="1084217"/>
                  <a:pt x="4962266" y="1100183"/>
                  <a:pt x="4355" y="1072606"/>
                </a:cubicBezTo>
              </a:path>
            </a:pathLst>
          </a:custGeom>
          <a:noFill/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26">
            <a:extLst>
              <a:ext uri="{FF2B5EF4-FFF2-40B4-BE49-F238E27FC236}">
                <a16:creationId xmlns:a16="http://schemas.microsoft.com/office/drawing/2014/main" id="{C0D8E50A-C735-48A5-821B-6B3BA9606AF2}"/>
              </a:ext>
            </a:extLst>
          </p:cNvPr>
          <p:cNvSpPr/>
          <p:nvPr/>
        </p:nvSpPr>
        <p:spPr>
          <a:xfrm>
            <a:off x="7213818" y="5005197"/>
            <a:ext cx="4130454" cy="1461072"/>
          </a:xfrm>
          <a:custGeom>
            <a:avLst/>
            <a:gdLst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0 w 4993859"/>
              <a:gd name="connsiteY3" fmla="*/ 1097280 h 1097280"/>
              <a:gd name="connsiteX4" fmla="*/ 0 w 4993859"/>
              <a:gd name="connsiteY4" fmla="*/ 0 h 1097280"/>
              <a:gd name="connsiteX0" fmla="*/ 0 w 4993859"/>
              <a:gd name="connsiteY0" fmla="*/ 0 h 1188720"/>
              <a:gd name="connsiteX1" fmla="*/ 4993859 w 4993859"/>
              <a:gd name="connsiteY1" fmla="*/ 0 h 1188720"/>
              <a:gd name="connsiteX2" fmla="*/ 4993859 w 4993859"/>
              <a:gd name="connsiteY2" fmla="*/ 1097280 h 1188720"/>
              <a:gd name="connsiteX3" fmla="*/ 91440 w 4993859"/>
              <a:gd name="connsiteY3" fmla="*/ 1188720 h 118872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87120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58092 h 1097280"/>
              <a:gd name="connsiteX0" fmla="*/ 0 w 4993859"/>
              <a:gd name="connsiteY0" fmla="*/ 0 h 1097280"/>
              <a:gd name="connsiteX1" fmla="*/ 4993859 w 4993859"/>
              <a:gd name="connsiteY1" fmla="*/ 0 h 1097280"/>
              <a:gd name="connsiteX2" fmla="*/ 4993859 w 4993859"/>
              <a:gd name="connsiteY2" fmla="*/ 1097280 h 1097280"/>
              <a:gd name="connsiteX3" fmla="*/ 4355 w 4993859"/>
              <a:gd name="connsiteY3" fmla="*/ 1072606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993859" h="1097280">
                <a:moveTo>
                  <a:pt x="0" y="0"/>
                </a:moveTo>
                <a:lnTo>
                  <a:pt x="4993859" y="0"/>
                </a:lnTo>
                <a:lnTo>
                  <a:pt x="4993859" y="1097280"/>
                </a:lnTo>
                <a:cubicBezTo>
                  <a:pt x="3330691" y="1084217"/>
                  <a:pt x="4962266" y="1100183"/>
                  <a:pt x="4355" y="1072606"/>
                </a:cubicBezTo>
              </a:path>
            </a:pathLst>
          </a:custGeom>
          <a:noFill/>
          <a:ln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A1BD3049-72EF-4972-8C57-B36B24FD0384}"/>
              </a:ext>
            </a:extLst>
          </p:cNvPr>
          <p:cNvSpPr>
            <a:spLocks/>
          </p:cNvSpPr>
          <p:nvPr/>
        </p:nvSpPr>
        <p:spPr>
          <a:xfrm>
            <a:off x="8173912" y="1584791"/>
            <a:ext cx="3088749" cy="108961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 guide</a:t>
            </a:r>
            <a:r>
              <a:rPr lang="fr-FR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’utilisation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D574472-F204-4AAD-B9C6-3CC906025FEB}"/>
              </a:ext>
            </a:extLst>
          </p:cNvPr>
          <p:cNvSpPr>
            <a:spLocks/>
          </p:cNvSpPr>
          <p:nvPr/>
        </p:nvSpPr>
        <p:spPr>
          <a:xfrm>
            <a:off x="1940450" y="3339393"/>
            <a:ext cx="3088749" cy="108961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s outils de cartographie des ressources remplis pour chaque acteur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F0A0974-9A04-4FFC-9126-CA8A664F8151}"/>
              </a:ext>
            </a:extLst>
          </p:cNvPr>
          <p:cNvSpPr>
            <a:spLocks/>
          </p:cNvSpPr>
          <p:nvPr/>
        </p:nvSpPr>
        <p:spPr>
          <a:xfrm>
            <a:off x="8071395" y="3296151"/>
            <a:ext cx="3191265" cy="1132857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27323F"/>
              </a:buClr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 kit de formation: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2 présentations PowerPoint, une étude de cas avec l'outil contenant le corrigé d’exercice.  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077529B-9B94-4C8D-8DA6-DE9E39C275FA}"/>
              </a:ext>
            </a:extLst>
          </p:cNvPr>
          <p:cNvSpPr>
            <a:spLocks/>
          </p:cNvSpPr>
          <p:nvPr/>
        </p:nvSpPr>
        <p:spPr>
          <a:xfrm>
            <a:off x="8095203" y="5163433"/>
            <a:ext cx="3167457" cy="108961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rapport final des analyses </a:t>
            </a: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8CFADAA-20ED-42E9-8B18-B2A36483203E}"/>
              </a:ext>
            </a:extLst>
          </p:cNvPr>
          <p:cNvSpPr>
            <a:spLocks/>
          </p:cNvSpPr>
          <p:nvPr/>
        </p:nvSpPr>
        <p:spPr>
          <a:xfrm>
            <a:off x="1940449" y="5163432"/>
            <a:ext cx="3236385" cy="1089615"/>
          </a:xfrm>
          <a:prstGeom prst="rect">
            <a:avLst/>
          </a:prstGeom>
        </p:spPr>
        <p:txBody>
          <a:bodyPr wrap="square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ne base de données Excel avec toutes les données des sources et de tableau de bord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75C53C6-33CA-4518-9F53-339D759524D4}"/>
              </a:ext>
            </a:extLst>
          </p:cNvPr>
          <p:cNvSpPr/>
          <p:nvPr/>
        </p:nvSpPr>
        <p:spPr>
          <a:xfrm>
            <a:off x="260003" y="1338418"/>
            <a:ext cx="1617882" cy="1555094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43B5428-248D-41A6-AEE3-3A709DC3E07B}"/>
              </a:ext>
            </a:extLst>
          </p:cNvPr>
          <p:cNvSpPr/>
          <p:nvPr/>
        </p:nvSpPr>
        <p:spPr>
          <a:xfrm>
            <a:off x="6404877" y="1364507"/>
            <a:ext cx="1617882" cy="1555094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09D2B231-F8B9-49BB-B6AF-837FC12CA82E}"/>
              </a:ext>
            </a:extLst>
          </p:cNvPr>
          <p:cNvSpPr/>
          <p:nvPr/>
        </p:nvSpPr>
        <p:spPr>
          <a:xfrm>
            <a:off x="6381069" y="3119397"/>
            <a:ext cx="1617882" cy="1555094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4372AAD4-A0C6-45D0-AECF-831F46502AF9}"/>
              </a:ext>
            </a:extLst>
          </p:cNvPr>
          <p:cNvSpPr/>
          <p:nvPr/>
        </p:nvSpPr>
        <p:spPr>
          <a:xfrm>
            <a:off x="6404877" y="4970005"/>
            <a:ext cx="1617882" cy="1555094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4" name="Graphic 13" descr="Presentation with pie chart">
            <a:extLst>
              <a:ext uri="{FF2B5EF4-FFF2-40B4-BE49-F238E27FC236}">
                <a16:creationId xmlns:a16="http://schemas.microsoft.com/office/drawing/2014/main" id="{A9D567D3-3D46-49AA-9FB8-7915ECACC0A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28018" y="5072942"/>
            <a:ext cx="1371600" cy="1371600"/>
          </a:xfrm>
          <a:prstGeom prst="rect">
            <a:avLst/>
          </a:prstGeom>
        </p:spPr>
      </p:pic>
      <p:pic>
        <p:nvPicPr>
          <p:cNvPr id="17" name="Graphic 16" descr="Compass">
            <a:extLst>
              <a:ext uri="{FF2B5EF4-FFF2-40B4-BE49-F238E27FC236}">
                <a16:creationId xmlns:a16="http://schemas.microsoft.com/office/drawing/2014/main" id="{2F56AC3E-2CE9-409F-9360-5A8489F2FD7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13354" y="1441849"/>
            <a:ext cx="1371600" cy="1371600"/>
          </a:xfrm>
          <a:prstGeom prst="rect">
            <a:avLst/>
          </a:prstGeom>
        </p:spPr>
      </p:pic>
      <p:sp>
        <p:nvSpPr>
          <p:cNvPr id="63" name="Oval 62">
            <a:extLst>
              <a:ext uri="{FF2B5EF4-FFF2-40B4-BE49-F238E27FC236}">
                <a16:creationId xmlns:a16="http://schemas.microsoft.com/office/drawing/2014/main" id="{EF9D6D6B-0107-4876-8F4A-25C9F712CC53}"/>
              </a:ext>
            </a:extLst>
          </p:cNvPr>
          <p:cNvSpPr/>
          <p:nvPr/>
        </p:nvSpPr>
        <p:spPr>
          <a:xfrm>
            <a:off x="322567" y="3104477"/>
            <a:ext cx="1617882" cy="1555094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7B2A15BD-A4AE-41D1-B5AF-0E5E6692C12C}"/>
              </a:ext>
            </a:extLst>
          </p:cNvPr>
          <p:cNvSpPr/>
          <p:nvPr/>
        </p:nvSpPr>
        <p:spPr>
          <a:xfrm>
            <a:off x="322567" y="4943898"/>
            <a:ext cx="1617882" cy="1555094"/>
          </a:xfrm>
          <a:prstGeom prst="ellipse">
            <a:avLst/>
          </a:prstGeom>
          <a:solidFill>
            <a:srgbClr val="1F49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Graphic 5" descr="Pie chart">
            <a:extLst>
              <a:ext uri="{FF2B5EF4-FFF2-40B4-BE49-F238E27FC236}">
                <a16:creationId xmlns:a16="http://schemas.microsoft.com/office/drawing/2014/main" id="{8252411E-FF89-4FBC-8AB0-584137EA527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6564" y="5054654"/>
            <a:ext cx="1371600" cy="1371600"/>
          </a:xfrm>
          <a:prstGeom prst="rect">
            <a:avLst/>
          </a:prstGeom>
        </p:spPr>
      </p:pic>
      <p:pic>
        <p:nvPicPr>
          <p:cNvPr id="21" name="Graphic 20" descr="Disk">
            <a:extLst>
              <a:ext uri="{FF2B5EF4-FFF2-40B4-BE49-F238E27FC236}">
                <a16:creationId xmlns:a16="http://schemas.microsoft.com/office/drawing/2014/main" id="{56EBB054-AC8E-4440-A8B0-28ABC0AAB08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0509" y="3169944"/>
            <a:ext cx="1371600" cy="1371600"/>
          </a:xfrm>
          <a:prstGeom prst="rect">
            <a:avLst/>
          </a:prstGeom>
        </p:spPr>
      </p:pic>
      <p:pic>
        <p:nvPicPr>
          <p:cNvPr id="53" name="Graphic 52" descr="Teacher">
            <a:extLst>
              <a:ext uri="{FF2B5EF4-FFF2-40B4-BE49-F238E27FC236}">
                <a16:creationId xmlns:a16="http://schemas.microsoft.com/office/drawing/2014/main" id="{EDF10DE4-EE1A-425C-A0FA-89DD909522B6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6437533" y="3172772"/>
            <a:ext cx="1371600" cy="1371600"/>
          </a:xfrm>
          <a:prstGeom prst="rect">
            <a:avLst/>
          </a:prstGeom>
        </p:spPr>
      </p:pic>
      <p:pic>
        <p:nvPicPr>
          <p:cNvPr id="55" name="Graphic 54" descr="Server">
            <a:extLst>
              <a:ext uri="{FF2B5EF4-FFF2-40B4-BE49-F238E27FC236}">
                <a16:creationId xmlns:a16="http://schemas.microsoft.com/office/drawing/2014/main" id="{7C69A62D-DEF0-4984-9A2D-368F20C0808F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65348" y="1401977"/>
            <a:ext cx="13716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664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4DCCBB-F697-4B49-9E3D-460FBB8254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9190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4DCCBB-F697-4B49-9E3D-460FBB825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72E9EC3-7E95-4A37-AE70-39FB633C905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fr-FR" sz="3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1"/>
            <a:ext cx="12192000" cy="4585649"/>
          </a:xfrm>
          <a:prstGeom prst="rect">
            <a:avLst/>
          </a:prstGeom>
          <a:solidFill>
            <a:srgbClr val="00336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33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1133475" y="2446338"/>
            <a:ext cx="11058525" cy="1811337"/>
          </a:xfrm>
        </p:spPr>
        <p:txBody>
          <a:bodyPr vert="horz">
            <a:noAutofit/>
          </a:bodyPr>
          <a:lstStyle/>
          <a:p>
            <a:pPr algn="l">
              <a:lnSpc>
                <a:spcPct val="100000"/>
              </a:lnSpc>
            </a:pPr>
            <a:r>
              <a:rPr lang="fr-FR" sz="3400" spc="0" dirty="0"/>
              <a:t>Démonstration de l’outil dynamique de la visualisation des données</a:t>
            </a:r>
            <a:endParaRPr lang="fr-FR" sz="3400" i="1" spc="0" dirty="0">
              <a:solidFill>
                <a:schemeClr val="accent3">
                  <a:lumMod val="9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4808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de la présent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C0131B-FE0C-44B6-BF0E-51179E86B25C}"/>
              </a:ext>
            </a:extLst>
          </p:cNvPr>
          <p:cNvSpPr txBox="1"/>
          <p:nvPr/>
        </p:nvSpPr>
        <p:spPr>
          <a:xfrm>
            <a:off x="850076" y="1133369"/>
            <a:ext cx="514114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algn="just">
              <a:spcBef>
                <a:spcPts val="1200"/>
              </a:spcBef>
              <a:buAutoNum type="arabicParenR"/>
            </a:pPr>
            <a:r>
              <a:rPr lang="fr-FR" sz="2000" dirty="0"/>
              <a:t>Introduction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Objectifs de la cartographie des ressource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Méthodologi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Produits de la cartographie des ressources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émonstration de l’outil dynamique de la visualisation des données</a:t>
            </a:r>
          </a:p>
          <a:p>
            <a:pPr marL="514350" indent="-514350">
              <a:spcBef>
                <a:spcPts val="1200"/>
              </a:spcBef>
              <a:buAutoNum type="arabicParenR"/>
            </a:pPr>
            <a:r>
              <a:rPr lang="fr-FR" sz="2000" dirty="0"/>
              <a:t>Résultats de la cartographie des ressources du PNDS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OS 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7EFFCB-270E-49AE-B3C6-4258B4FC3A13}"/>
              </a:ext>
            </a:extLst>
          </p:cNvPr>
          <p:cNvSpPr txBox="1"/>
          <p:nvPr/>
        </p:nvSpPr>
        <p:spPr>
          <a:xfrm>
            <a:off x="6805613" y="1252455"/>
            <a:ext cx="5139985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ésultats de la cartographie des ressources du DI SRMNIA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iorité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ecommandations </a:t>
            </a:r>
            <a:endParaRPr lang="fr-FR" sz="16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21523D-6B93-48D3-9BF9-EC8E449E0DE5}"/>
              </a:ext>
            </a:extLst>
          </p:cNvPr>
          <p:cNvCxnSpPr>
            <a:cxnSpLocks/>
          </p:cNvCxnSpPr>
          <p:nvPr/>
        </p:nvCxnSpPr>
        <p:spPr>
          <a:xfrm>
            <a:off x="6178650" y="1133369"/>
            <a:ext cx="0" cy="5238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48E38CB-F232-4052-AFF6-635DB1CB8968}"/>
              </a:ext>
            </a:extLst>
          </p:cNvPr>
          <p:cNvSpPr/>
          <p:nvPr/>
        </p:nvSpPr>
        <p:spPr>
          <a:xfrm>
            <a:off x="223114" y="3189503"/>
            <a:ext cx="542925" cy="3906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14471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4622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u PNDSS (2019-2023)</a:t>
            </a:r>
          </a:p>
        </p:txBody>
      </p:sp>
      <p:sp>
        <p:nvSpPr>
          <p:cNvPr id="125" name="Rectangle 124" hidden="1">
            <a:extLst>
              <a:ext uri="{FF2B5EF4-FFF2-40B4-BE49-F238E27FC236}">
                <a16:creationId xmlns:a16="http://schemas.microsoft.com/office/drawing/2014/main" id="{1937186A-B47C-4879-8D41-0170B9F11CE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426C781-0653-4DE5-BE03-8FA5DBC777B0}"/>
              </a:ext>
            </a:extLst>
          </p:cNvPr>
          <p:cNvSpPr txBox="1">
            <a:spLocks noChangeAspect="1"/>
          </p:cNvSpPr>
          <p:nvPr/>
        </p:nvSpPr>
        <p:spPr>
          <a:xfrm>
            <a:off x="528237" y="2452688"/>
            <a:ext cx="4361263" cy="25027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algn="just">
              <a:lnSpc>
                <a:spcPct val="150000"/>
              </a:lnSpc>
            </a:pPr>
            <a:r>
              <a:rPr lang="fr-FR" sz="1600" dirty="0">
                <a:solidFill>
                  <a:schemeClr val="tx1"/>
                </a:solidFill>
              </a:rPr>
              <a:t>Répartition des ressources du PNDSS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chemeClr val="tx1"/>
                </a:solidFill>
              </a:rPr>
              <a:t>47% </a:t>
            </a:r>
            <a:r>
              <a:rPr lang="fr-FR" sz="1600" dirty="0">
                <a:solidFill>
                  <a:schemeClr val="tx1"/>
                </a:solidFill>
              </a:rPr>
              <a:t>ressources publiques de l'État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chemeClr val="tx1"/>
                </a:solidFill>
              </a:rPr>
              <a:t>30%</a:t>
            </a:r>
            <a:r>
              <a:rPr lang="fr-FR" sz="1600" dirty="0">
                <a:solidFill>
                  <a:schemeClr val="tx1"/>
                </a:solidFill>
              </a:rPr>
              <a:t> contribution des PTF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chemeClr val="tx1"/>
                </a:solidFill>
              </a:rPr>
              <a:t>23%</a:t>
            </a:r>
            <a:r>
              <a:rPr lang="fr-FR" sz="1600" dirty="0">
                <a:solidFill>
                  <a:schemeClr val="tx1"/>
                </a:solidFill>
              </a:rPr>
              <a:t> contribution des collectivités territoriales, ménages et secteur privé </a:t>
            </a:r>
            <a:endParaRPr lang="en-US" sz="1600" dirty="0">
              <a:solidFill>
                <a:schemeClr val="tx1"/>
              </a:solidFill>
            </a:endParaRPr>
          </a:p>
        </p:txBody>
      </p:sp>
      <p:graphicFrame>
        <p:nvGraphicFramePr>
          <p:cNvPr id="100" name="Chart 99">
            <a:extLst>
              <a:ext uri="{FF2B5EF4-FFF2-40B4-BE49-F238E27FC236}">
                <a16:creationId xmlns:a16="http://schemas.microsoft.com/office/drawing/2014/main" id="{B9F2B6F5-9EC6-442D-8162-49710E1E3CA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997719"/>
              </p:ext>
            </p:extLst>
          </p:nvPr>
        </p:nvGraphicFramePr>
        <p:xfrm>
          <a:off x="5067300" y="1558925"/>
          <a:ext cx="4454525" cy="4448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9FCF6EA6-95D2-4240-A6F6-0E38A1D728A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575800" y="1981200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68F3D54-3F37-4C5E-808C-FD028D85B1F3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9575800" y="1717675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75A5BE-98A1-4862-9E9B-FE193AE90C2A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9575800" y="2244725"/>
            <a:ext cx="250825" cy="187325"/>
          </a:xfrm>
          <a:prstGeom prst="rect">
            <a:avLst/>
          </a:prstGeom>
          <a:solidFill>
            <a:srgbClr val="969696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B9FDC8E-C2A7-470A-90C2-7E5E64F3F9A5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575800" y="2508250"/>
            <a:ext cx="250825" cy="187325"/>
          </a:xfrm>
          <a:prstGeom prst="rect">
            <a:avLst/>
          </a:prstGeom>
          <a:solidFill>
            <a:srgbClr val="FFC90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57A80F-65C0-4681-8860-97E2D02162B1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9575800" y="2771775"/>
            <a:ext cx="250825" cy="18732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 Placeholder 13">
            <a:extLst>
              <a:ext uri="{FF2B5EF4-FFF2-40B4-BE49-F238E27FC236}">
                <a16:creationId xmlns:a16="http://schemas.microsoft.com/office/drawing/2014/main" id="{4CF8870D-CB31-4CA5-9815-8C817365A70A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877425" y="1712913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265D4FC-471C-4168-8963-121BF36C04EA}" type="datetime'''''''''E''''''''''''''''''''''''''''''t''''a''t''''''''''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73" name="Text Placeholder 13">
            <a:extLst>
              <a:ext uri="{FF2B5EF4-FFF2-40B4-BE49-F238E27FC236}">
                <a16:creationId xmlns:a16="http://schemas.microsoft.com/office/drawing/2014/main" id="{2271BC53-C986-4196-99B9-F453763F198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877425" y="2239963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F07E1A-5525-453D-8A02-985E4C370D98}" type="datetime'C''ollec''ti''vit''é''''s'' ''''territoria''''''''''''''les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72" name="Text Placeholder 13">
            <a:extLst>
              <a:ext uri="{FF2B5EF4-FFF2-40B4-BE49-F238E27FC236}">
                <a16:creationId xmlns:a16="http://schemas.microsoft.com/office/drawing/2014/main" id="{F122903B-8108-4E91-A363-D2DA11BD827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9877425" y="1976438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B83F2AC-4C68-4986-9BA9-4CE5AB372C95}" type="datetime'''''''''''''''''''P''''''''''''''''''TF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82" name="Text Placeholder 13">
            <a:extLst>
              <a:ext uri="{FF2B5EF4-FFF2-40B4-BE49-F238E27FC236}">
                <a16:creationId xmlns:a16="http://schemas.microsoft.com/office/drawing/2014/main" id="{17956994-AA80-4116-A0AF-4C38497F27D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877425" y="2503488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E57EBD-16E8-4B4F-99FD-CD0C5C35D21A}" type="datetime'M''é''''''''''''''''''''''''''''''n''''a''''g''''''es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83" name="Text Placeholder 13">
            <a:extLst>
              <a:ext uri="{FF2B5EF4-FFF2-40B4-BE49-F238E27FC236}">
                <a16:creationId xmlns:a16="http://schemas.microsoft.com/office/drawing/2014/main" id="{6C24E5B0-6C55-42F9-BA3F-7888E14688A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877425" y="2767013"/>
            <a:ext cx="1065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D5945F-72CF-4411-BCEA-771608CAB117}" type="datetime'''S''''''e''''''c''t''''eu''''r ''''P''''r''''''''''i''v''é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cteur Privé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83406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>
            <a:extLst>
              <a:ext uri="{FF2B5EF4-FFF2-40B4-BE49-F238E27FC236}">
                <a16:creationId xmlns:a16="http://schemas.microsoft.com/office/drawing/2014/main" id="{67F03D07-6422-4051-9AF3-9AD13D68B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3928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80" imgW="416" imgH="416" progId="TCLayout.ActiveDocument.1">
                  <p:embed/>
                </p:oleObj>
              </mc:Choice>
              <mc:Fallback>
                <p:oleObj name="think-cell Slide" r:id="rId80" imgW="416" imgH="416" progId="TCLayout.ActiveDocument.1">
                  <p:embed/>
                  <p:pic>
                    <p:nvPicPr>
                      <p:cNvPr id="28" name="Object 27" hidden="1">
                        <a:extLst>
                          <a:ext uri="{FF2B5EF4-FFF2-40B4-BE49-F238E27FC236}">
                            <a16:creationId xmlns:a16="http://schemas.microsoft.com/office/drawing/2014/main" id="{67F03D07-6422-4051-9AF3-9AD13D68B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AFB0D9B6-AD5A-4ECC-B71E-D16053A8DA02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16127025"/>
              </p:ext>
            </p:extLst>
          </p:nvPr>
        </p:nvGraphicFramePr>
        <p:xfrm>
          <a:off x="765175" y="1268413"/>
          <a:ext cx="11055350" cy="3817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sp>
        <p:nvSpPr>
          <p:cNvPr id="148" name="Text Placeholder 13">
            <a:extLst>
              <a:ext uri="{FF2B5EF4-FFF2-40B4-BE49-F238E27FC236}">
                <a16:creationId xmlns:a16="http://schemas.microsoft.com/office/drawing/2014/main" id="{64345FC3-0199-4178-8911-401C43DB428E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76238" y="197485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BAFF36-BDBA-4853-929A-0D1DA6F012AF}" type="datetime'''''''''''''2''''''''''''''''0''''''''''''''''''0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400" dirty="0">
              <a:cs typeface="+mn-cs"/>
            </a:endParaRPr>
          </a:p>
        </p:txBody>
      </p:sp>
      <p:sp>
        <p:nvSpPr>
          <p:cNvPr id="154" name="Text Placeholder 13">
            <a:extLst>
              <a:ext uri="{FF2B5EF4-FFF2-40B4-BE49-F238E27FC236}">
                <a16:creationId xmlns:a16="http://schemas.microsoft.com/office/drawing/2014/main" id="{9227A2E6-E1F7-47BE-A0BE-ADF54C11E72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76238" y="270510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2D93BB-3B2B-4321-95B4-8D6A201F31DA}" type="datetime'''''1''''5''''''0''''''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400" dirty="0">
              <a:cs typeface="+mn-cs"/>
            </a:endParaRPr>
          </a:p>
        </p:txBody>
      </p:sp>
      <p:sp>
        <p:nvSpPr>
          <p:cNvPr id="114" name="Text Placeholder 13">
            <a:extLst>
              <a:ext uri="{FF2B5EF4-FFF2-40B4-BE49-F238E27FC236}">
                <a16:creationId xmlns:a16="http://schemas.microsoft.com/office/drawing/2014/main" id="{904609BB-5AFE-4703-B8FE-C5E61A3CF83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76239" y="343693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5D62859-687D-4ECA-A60A-06CED4F351B2}" type="datetime'''''''''''1''''''''''0''''''''''0'''''''''''''''''''">
              <a:rPr lang="en-US" altLang="en-US" sz="1400" smtClean="0">
                <a:cs typeface="+mn-cs"/>
              </a:rPr>
              <a:pPr/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109" name="Text Placeholder 13">
            <a:extLst>
              <a:ext uri="{FF2B5EF4-FFF2-40B4-BE49-F238E27FC236}">
                <a16:creationId xmlns:a16="http://schemas.microsoft.com/office/drawing/2014/main" id="{6E60BF62-C4DF-4640-8269-9869A9C1965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73088" y="48974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E88E25-7789-4F54-9AA0-DAE2621AA3D3}" type="datetime'''''''''''''''''''''''''''''''''''0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53" name="Text Placeholder 13">
            <a:extLst>
              <a:ext uri="{FF2B5EF4-FFF2-40B4-BE49-F238E27FC236}">
                <a16:creationId xmlns:a16="http://schemas.microsoft.com/office/drawing/2014/main" id="{DF74F79A-298B-4A28-8124-B45A1087542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74663" y="41671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900A32-381B-46EA-A30F-486537AA3505}" type="datetime'''''''''''''''''''''''''''''''''5''''''''0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 dirty="0">
              <a:cs typeface="+mn-cs"/>
            </a:endParaRPr>
          </a:p>
        </p:txBody>
      </p:sp>
      <p:sp>
        <p:nvSpPr>
          <p:cNvPr id="155" name="Text Placeholder 13">
            <a:extLst>
              <a:ext uri="{FF2B5EF4-FFF2-40B4-BE49-F238E27FC236}">
                <a16:creationId xmlns:a16="http://schemas.microsoft.com/office/drawing/2014/main" id="{7D6FD7BA-648B-47B7-9745-575E13A9E4B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76238" y="124460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153E39C-F7BD-4B40-ACCD-5C4F6C56A9B1}" type="datetime'''''''''''''''''''2''''''5''''''''''''''''0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400" dirty="0">
              <a:cs typeface="+mn-cs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C7D0E0A-AFD2-4B85-BAC3-EB536FFBC0B7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1035050" y="2078038"/>
            <a:ext cx="376238" cy="4143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CA7C33A-3D4A-42A4-BFDB-46C95CD5E70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1785938" y="1658938"/>
            <a:ext cx="376237" cy="5048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883C5AC-9690-4D9C-A20D-91A96E91B86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3287713" y="2092325"/>
            <a:ext cx="376237" cy="2333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12B2A9C-6B1A-4317-B4D0-7471C01DCBD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3663950" y="1411288"/>
            <a:ext cx="374650" cy="6810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FDF94D1-EF02-48FD-97DE-447BED863660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038600" y="1411288"/>
            <a:ext cx="752475" cy="15081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7B7F480-8DD1-42D7-9369-FD92FCB74B4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V="1">
            <a:off x="5541963" y="4203700"/>
            <a:ext cx="374650" cy="1666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F1D6ED3F-6D8F-44B5-A2B0-B0E3BE8DC11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5541963" y="3868738"/>
            <a:ext cx="374650" cy="1666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1375D6F6-6B50-4A8C-811F-DAA1A1E8640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916613" y="4203700"/>
            <a:ext cx="1127125" cy="841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1" name="Straight Connector 450">
            <a:extLst>
              <a:ext uri="{FF2B5EF4-FFF2-40B4-BE49-F238E27FC236}">
                <a16:creationId xmlns:a16="http://schemas.microsoft.com/office/drawing/2014/main" id="{65A3F873-8182-49AC-B46C-76D9D1EB9AF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7794625" y="3767138"/>
            <a:ext cx="1501775" cy="857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449C61C9-8F52-4AE6-A0C1-B2942EB78204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10047288" y="4265613"/>
            <a:ext cx="1501775" cy="730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8" name="Text Placeholder 13">
            <a:extLst>
              <a:ext uri="{FF2B5EF4-FFF2-40B4-BE49-F238E27FC236}">
                <a16:creationId xmlns:a16="http://schemas.microsoft.com/office/drawing/2014/main" id="{9B74E4FE-6A5B-4150-BDF8-45DD338F099F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1374438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927C044-7CB5-41F6-B270-BAEEEA41D715}" type="datetime'''''''''''''''2''''''''''''''''0''''''''''''''2''''''''3'''">
              <a:rPr lang="en-US" altLang="en-US" sz="1200" smtClean="0">
                <a:cs typeface="+mn-cs"/>
              </a:rPr>
              <a:pPr/>
              <a:t>2023</a:t>
            </a:fld>
            <a:endParaRPr lang="en-US" sz="1200" dirty="0">
              <a:cs typeface="+mn-cs"/>
            </a:endParaRP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A0A19635-95F5-47BC-9641-7A133486944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236663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561F61-27CF-47A3-8712-3C778B8B45D5}" type="datetime'''''''''''''2''''''0''''''''2''''''0'''''''''''''''''">
              <a:rPr lang="en-US" altLang="en-US" sz="12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200" dirty="0">
              <a:cs typeface="+mn-cs"/>
            </a:endParaRPr>
          </a:p>
        </p:txBody>
      </p:sp>
      <p:sp>
        <p:nvSpPr>
          <p:cNvPr id="179" name="Text Placeholder 13">
            <a:extLst>
              <a:ext uri="{FF2B5EF4-FFF2-40B4-BE49-F238E27FC236}">
                <a16:creationId xmlns:a16="http://schemas.microsoft.com/office/drawing/2014/main" id="{3995E56A-A7C5-4CCD-9C8F-793CC83AC57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543675" y="45164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F24FCF-518A-44DB-A4ED-E448CADC7333}" type="datetime'''1''''''''''''''''''7''''''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7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AADCD788-A738-467D-8884-687D46A6DFA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611313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86AFC9-D7EB-47D8-9903-351251276C00}" type="datetime'''''''2''''''02''''''''''''''''1'''''''''''''''''''">
              <a:rPr lang="en-US" altLang="en-US" sz="12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200" dirty="0">
              <a:cs typeface="+mn-cs"/>
            </a:endParaRP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6BCD508F-9B23-4C01-86FC-CA27B93DD8CA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1987550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7573A8-DE3B-4CDA-A3E3-DFBCC8DA59D1}" type="datetime'''''''''''2''''''''''''''''''''''0''''''''''''''2''''''2'''">
              <a:rPr lang="en-US" altLang="en-US" sz="1200" smtClean="0">
                <a:cs typeface="+mn-cs"/>
              </a:rPr>
              <a:pPr/>
              <a:t>2022</a:t>
            </a:fld>
            <a:endParaRPr lang="en-US" sz="1200" dirty="0">
              <a:cs typeface="+mn-cs"/>
            </a:endParaRPr>
          </a:p>
        </p:txBody>
      </p:sp>
      <p:sp>
        <p:nvSpPr>
          <p:cNvPr id="173" name="Text Placeholder 13">
            <a:extLst>
              <a:ext uri="{FF2B5EF4-FFF2-40B4-BE49-F238E27FC236}">
                <a16:creationId xmlns:a16="http://schemas.microsoft.com/office/drawing/2014/main" id="{3CC9A2B6-3D19-4593-8BB0-ECEAC3889F1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667250" y="39258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D7FFDB-DA01-4B3E-AF3F-4EB537DCE95B}" type="datetime'''''''''''''5''''''''''''''''''''7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57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69" name="Text Placeholder 13">
            <a:extLst>
              <a:ext uri="{FF2B5EF4-FFF2-40B4-BE49-F238E27FC236}">
                <a16:creationId xmlns:a16="http://schemas.microsoft.com/office/drawing/2014/main" id="{1459F546-4E7C-40FC-B13C-E87DEC239B5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163888" y="33321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13F123-3DF3-4E6F-A46E-E34751EEE1C3}" type="datetime'''''9''8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98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id="{93393190-71D9-4FB9-A289-562971ED7D2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363789" y="218916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18DC0E-2D41-4477-8E95-520E1165D901}" type="datetime'''''''''''''''''''''''''1''''''''7''''''''''''''''''6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76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1B9273E1-9291-40D0-87DC-CFEE7A9C915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113088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E8922A-3CBB-4FD0-8F05-46C640969637}" type="datetime'''''''''''2''''''''0''''''''''1''''''''''''9'''''''''">
              <a:rPr lang="en-US" altLang="en-US" sz="1200" smtClean="0">
                <a:cs typeface="+mn-cs"/>
              </a:rPr>
              <a:pPr/>
              <a:t>2019</a:t>
            </a:fld>
            <a:endParaRPr lang="en-US" sz="1200" dirty="0">
              <a:cs typeface="+mn-cs"/>
            </a:endParaRPr>
          </a:p>
        </p:txBody>
      </p:sp>
      <p:sp>
        <p:nvSpPr>
          <p:cNvPr id="67" name="Text Placeholder 13">
            <a:extLst>
              <a:ext uri="{FF2B5EF4-FFF2-40B4-BE49-F238E27FC236}">
                <a16:creationId xmlns:a16="http://schemas.microsoft.com/office/drawing/2014/main" id="{751A3777-8B44-4774-A94C-71660BD5A65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9121775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208BCE-FC60-4811-BF5C-AA6C35C2E857}" type="datetime'''''''''''''''''''2''''''''''''''0''2''''''''''''3'''''">
              <a:rPr lang="en-US" altLang="en-US" sz="1200" smtClean="0">
                <a:cs typeface="+mn-cs"/>
              </a:rPr>
              <a:pPr/>
              <a:t>2023</a:t>
            </a:fld>
            <a:endParaRPr lang="en-US" sz="1200" dirty="0">
              <a:cs typeface="+mn-cs"/>
            </a:endParaRP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874E88C8-4244-461E-9922-19984D653E58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489325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D1E581-47C9-45F1-9006-1CC7549F58B7}" type="datetime'''''''''''''''2''''''''''''''''''''0''''''2''''''0'''">
              <a:rPr lang="en-US" altLang="en-US" sz="1200" smtClean="0">
                <a:cs typeface="+mn-cs"/>
              </a:rPr>
              <a:pPr/>
              <a:t>2020</a:t>
            </a:fld>
            <a:endParaRPr lang="en-US" sz="1200" dirty="0">
              <a:cs typeface="+mn-cs"/>
            </a:endParaRP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513A41E7-FD3B-40D9-8852-F5B32584317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3863975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4DF31E-74CB-48D9-B6B1-0C61819AB9E6}" type="datetime'''''''''''2''''''''0''''''''''''''''''2''''''''''''''''1'''''">
              <a:rPr lang="en-US" altLang="en-US" sz="1200" smtClean="0">
                <a:cs typeface="+mn-cs"/>
              </a:rPr>
              <a:pPr/>
              <a:t>2021</a:t>
            </a:fld>
            <a:endParaRPr lang="en-US" sz="1200" dirty="0">
              <a:cs typeface="+mn-cs"/>
            </a:endParaRPr>
          </a:p>
        </p:txBody>
      </p:sp>
      <p:sp>
        <p:nvSpPr>
          <p:cNvPr id="49" name="Text Placeholder 13">
            <a:extLst>
              <a:ext uri="{FF2B5EF4-FFF2-40B4-BE49-F238E27FC236}">
                <a16:creationId xmlns:a16="http://schemas.microsoft.com/office/drawing/2014/main" id="{61353B1F-AEC6-432A-980D-2D1D9A07EC5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240213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3F18D3-3F9D-4C6C-A9E8-78A5117675CC}" type="datetime'20''''''''''''''''''''''''''''''''''''''''''''2''2'''''''''">
              <a:rPr lang="en-US" altLang="en-US" sz="1200" smtClean="0">
                <a:cs typeface="+mn-cs"/>
              </a:rPr>
              <a:pPr/>
              <a:t>2022</a:t>
            </a:fld>
            <a:endParaRPr lang="en-US" sz="1200" dirty="0">
              <a:cs typeface="+mn-cs"/>
            </a:endParaRPr>
          </a:p>
        </p:txBody>
      </p:sp>
      <p:sp>
        <p:nvSpPr>
          <p:cNvPr id="50" name="Text Placeholder 13">
            <a:extLst>
              <a:ext uri="{FF2B5EF4-FFF2-40B4-BE49-F238E27FC236}">
                <a16:creationId xmlns:a16="http://schemas.microsoft.com/office/drawing/2014/main" id="{9380ADC0-A238-459C-90BE-982FC38029FF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616450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FAA30D-D772-4456-ACAB-12DC19707989}" type="datetime'2''''''''''''''0''''''''''2''''''''''''''''''''''''3'''''">
              <a:rPr lang="en-US" altLang="en-US" sz="1200" smtClean="0">
                <a:cs typeface="+mn-cs"/>
              </a:rPr>
              <a:pPr/>
              <a:t>2023</a:t>
            </a:fld>
            <a:endParaRPr lang="en-US" sz="1200" dirty="0">
              <a:cs typeface="+mn-cs"/>
            </a:endParaRPr>
          </a:p>
        </p:txBody>
      </p:sp>
      <p:sp>
        <p:nvSpPr>
          <p:cNvPr id="56" name="Text Placeholder 13">
            <a:extLst>
              <a:ext uri="{FF2B5EF4-FFF2-40B4-BE49-F238E27FC236}">
                <a16:creationId xmlns:a16="http://schemas.microsoft.com/office/drawing/2014/main" id="{60E1D239-D511-4BBF-9056-0EED7DE8C75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367338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CA775C-10A2-4256-98D8-47F6E767AC44}" type="datetime'''''''''''''''''''''''2''0''''1''''''''''9'''''''">
              <a:rPr lang="en-US" altLang="en-US" sz="1200" smtClean="0">
                <a:cs typeface="+mn-cs"/>
              </a:rPr>
              <a:pPr/>
              <a:t>2019</a:t>
            </a:fld>
            <a:endParaRPr lang="en-US" sz="1200" dirty="0">
              <a:cs typeface="+mn-cs"/>
            </a:endParaRPr>
          </a:p>
        </p:txBody>
      </p:sp>
      <p:sp>
        <p:nvSpPr>
          <p:cNvPr id="57" name="Text Placeholder 13">
            <a:extLst>
              <a:ext uri="{FF2B5EF4-FFF2-40B4-BE49-F238E27FC236}">
                <a16:creationId xmlns:a16="http://schemas.microsoft.com/office/drawing/2014/main" id="{63F13776-44C5-46EE-B28C-0FBCCB25305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741988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4B6173-8E31-4FDB-A145-D6824EFD604A}" type="datetime'''''''''''''''''''''''''''20''''''''''''''''2''0'''''">
              <a:rPr lang="en-US" altLang="en-US" sz="1200" smtClean="0">
                <a:cs typeface="+mn-cs"/>
              </a:rPr>
              <a:pPr/>
              <a:t>2020</a:t>
            </a:fld>
            <a:endParaRPr lang="en-US" sz="1200" dirty="0">
              <a:cs typeface="+mn-cs"/>
            </a:endParaRPr>
          </a:p>
        </p:txBody>
      </p:sp>
      <p:sp>
        <p:nvSpPr>
          <p:cNvPr id="58" name="Text Placeholder 13">
            <a:extLst>
              <a:ext uri="{FF2B5EF4-FFF2-40B4-BE49-F238E27FC236}">
                <a16:creationId xmlns:a16="http://schemas.microsoft.com/office/drawing/2014/main" id="{5C45CA29-0DE7-4F17-9229-D285DF5964BE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118225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4AD85-C6F1-4836-9514-3BD1D246A93D}" type="datetime'''''''''''''2''''''''''''''''''''''0''''''2''''1'''''">
              <a:rPr lang="en-US" altLang="en-US" sz="1200" smtClean="0">
                <a:cs typeface="+mn-cs"/>
              </a:rPr>
              <a:pPr/>
              <a:t>2021</a:t>
            </a:fld>
            <a:endParaRPr lang="en-US" sz="1200" dirty="0">
              <a:cs typeface="+mn-cs"/>
            </a:endParaRPr>
          </a:p>
        </p:txBody>
      </p:sp>
      <p:sp>
        <p:nvSpPr>
          <p:cNvPr id="59" name="Text Placeholder 13">
            <a:extLst>
              <a:ext uri="{FF2B5EF4-FFF2-40B4-BE49-F238E27FC236}">
                <a16:creationId xmlns:a16="http://schemas.microsoft.com/office/drawing/2014/main" id="{3CA221D1-7F72-4048-B90A-56B4223C4AE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492875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6809F6-C447-4267-B065-66B0E0F9A2A7}" type="datetime'''''''''''''2''''''''''''''''''''0''2''''''''''''''2'">
              <a:rPr lang="en-US" altLang="en-US" sz="1200" smtClean="0">
                <a:cs typeface="+mn-cs"/>
              </a:rPr>
              <a:pPr/>
              <a:t>2022</a:t>
            </a:fld>
            <a:endParaRPr lang="en-US" sz="1200" dirty="0">
              <a:cs typeface="+mn-cs"/>
            </a:endParaRPr>
          </a:p>
        </p:txBody>
      </p:sp>
      <p:sp>
        <p:nvSpPr>
          <p:cNvPr id="63" name="Text Placeholder 13">
            <a:extLst>
              <a:ext uri="{FF2B5EF4-FFF2-40B4-BE49-F238E27FC236}">
                <a16:creationId xmlns:a16="http://schemas.microsoft.com/office/drawing/2014/main" id="{4CE1F9E3-F6BB-405C-961A-BF24FFE7CAC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620000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1D8CD3-B686-461D-9D58-D7884E44C21C}" type="datetime'''''''''''2''''''''''''''''''''''''''''''01''''9'''''''''''''">
              <a:rPr lang="en-US" altLang="en-US" sz="1200" smtClean="0">
                <a:cs typeface="+mn-cs"/>
              </a:rPr>
              <a:pPr/>
              <a:t>2019</a:t>
            </a:fld>
            <a:endParaRPr lang="en-US" sz="1200" dirty="0">
              <a:cs typeface="+mn-cs"/>
            </a:endParaRPr>
          </a:p>
        </p:txBody>
      </p:sp>
      <p:sp>
        <p:nvSpPr>
          <p:cNvPr id="64" name="Text Placeholder 13">
            <a:extLst>
              <a:ext uri="{FF2B5EF4-FFF2-40B4-BE49-F238E27FC236}">
                <a16:creationId xmlns:a16="http://schemas.microsoft.com/office/drawing/2014/main" id="{82FB39B7-BA91-4340-8051-4A97BF7D193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994650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CC14BB-80CA-4BBC-A059-A7F73332207B}" type="datetime'''''''''''''''''''''''2''''''''02''''''''''''''0'''">
              <a:rPr lang="en-US" altLang="en-US" sz="1200" smtClean="0">
                <a:cs typeface="+mn-cs"/>
              </a:rPr>
              <a:pPr/>
              <a:t>2020</a:t>
            </a:fld>
            <a:endParaRPr lang="en-US" sz="1200" dirty="0">
              <a:cs typeface="+mn-cs"/>
            </a:endParaRPr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84A44D14-3244-4523-8AAE-1C3DB638F3D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370888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70B924D-4A20-45EA-9C57-C4AC595B00EC}" type="datetime'''''''''''''''''''''20''''''''''''''''''''21'''''''">
              <a:rPr lang="en-US" altLang="en-US" sz="1200" smtClean="0">
                <a:cs typeface="+mn-cs"/>
              </a:rPr>
              <a:pPr/>
              <a:t>2021</a:t>
            </a:fld>
            <a:endParaRPr lang="en-US" sz="1200" dirty="0">
              <a:cs typeface="+mn-cs"/>
            </a:endParaRPr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BDBAF377-CC40-4F3C-93C4-5E46A8FDCA7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8747125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128FE17-FB58-453D-A04E-FDD4A148365D}" type="datetime'2''''''''''''''0''''''2''''''2'''''''''''''''">
              <a:rPr lang="en-US" altLang="en-US" sz="1200" smtClean="0">
                <a:cs typeface="+mn-cs"/>
              </a:rPr>
              <a:pPr/>
              <a:t>2022</a:t>
            </a:fld>
            <a:endParaRPr lang="en-US" sz="1200" dirty="0">
              <a:cs typeface="+mn-cs"/>
            </a:endParaRPr>
          </a:p>
        </p:txBody>
      </p:sp>
      <p:sp>
        <p:nvSpPr>
          <p:cNvPr id="74" name="Text Placeholder 13">
            <a:extLst>
              <a:ext uri="{FF2B5EF4-FFF2-40B4-BE49-F238E27FC236}">
                <a16:creationId xmlns:a16="http://schemas.microsoft.com/office/drawing/2014/main" id="{3D39FFFD-41CF-4093-8CEF-84785264C9B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9872663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B9303-6531-4F57-A031-CCD2D0AABCB9}" type="datetime'''''''''''''''''''2''''''''''''''''''0''''1''''''9'''''">
              <a:rPr lang="en-US" altLang="en-US" sz="1200" smtClean="0">
                <a:cs typeface="+mn-cs"/>
              </a:rPr>
              <a:pPr/>
              <a:t>2019</a:t>
            </a:fld>
            <a:endParaRPr lang="en-US" sz="1200" dirty="0">
              <a:cs typeface="+mn-cs"/>
            </a:endParaRPr>
          </a:p>
        </p:txBody>
      </p:sp>
      <p:sp>
        <p:nvSpPr>
          <p:cNvPr id="75" name="Text Placeholder 13">
            <a:extLst>
              <a:ext uri="{FF2B5EF4-FFF2-40B4-BE49-F238E27FC236}">
                <a16:creationId xmlns:a16="http://schemas.microsoft.com/office/drawing/2014/main" id="{013866A9-93BB-4194-B979-56378E69B9A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0248900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73629D-7C6A-47E9-8F45-B4E08641CD34}" type="datetime'''''''''''''''''2''0''''''''''2''''''''0'''''''''">
              <a:rPr lang="en-US" altLang="en-US" sz="1200" smtClean="0">
                <a:cs typeface="+mn-cs"/>
              </a:rPr>
              <a:pPr/>
              <a:t>2020</a:t>
            </a:fld>
            <a:endParaRPr lang="en-US" sz="1200" dirty="0">
              <a:cs typeface="+mn-cs"/>
            </a:endParaRPr>
          </a:p>
        </p:txBody>
      </p:sp>
      <p:sp>
        <p:nvSpPr>
          <p:cNvPr id="184" name="Text Placeholder 13">
            <a:extLst>
              <a:ext uri="{FF2B5EF4-FFF2-40B4-BE49-F238E27FC236}">
                <a16:creationId xmlns:a16="http://schemas.microsoft.com/office/drawing/2014/main" id="{EAD1846C-B5FA-4B48-84AC-9BBB7945F25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045450" y="40465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6CA64B-E473-4849-B551-E35D4C30ABCC}" type="datetime'''''''4''''''''''''''''''''''''''''''''''''''''9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49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76" name="Text Placeholder 13">
            <a:extLst>
              <a:ext uri="{FF2B5EF4-FFF2-40B4-BE49-F238E27FC236}">
                <a16:creationId xmlns:a16="http://schemas.microsoft.com/office/drawing/2014/main" id="{43DAD025-EC1B-4142-969B-659FE5AC6895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623550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E1CD4B-1C09-46F1-B496-CBCFAE51C78C}" type="datetime'''202''''''''''''''''''''''''''''''1'''''''''''''''''">
              <a:rPr lang="en-US" altLang="en-US" sz="1200" smtClean="0">
                <a:cs typeface="+mn-cs"/>
              </a:rPr>
              <a:pPr/>
              <a:t>2021</a:t>
            </a:fld>
            <a:endParaRPr lang="en-US" sz="1200" dirty="0">
              <a:cs typeface="+mn-cs"/>
            </a:endParaRPr>
          </a:p>
        </p:txBody>
      </p:sp>
      <p:sp>
        <p:nvSpPr>
          <p:cNvPr id="77" name="Text Placeholder 13">
            <a:extLst>
              <a:ext uri="{FF2B5EF4-FFF2-40B4-BE49-F238E27FC236}">
                <a16:creationId xmlns:a16="http://schemas.microsoft.com/office/drawing/2014/main" id="{1F127638-3225-4B23-99E7-35F34938D4B9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999788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6541BB-8DB5-4BA3-85AA-303D26E27269}" type="datetime'''2''0''2''''''''''''''''2'''''''''''''">
              <a:rPr lang="en-US" altLang="en-US" sz="1200" smtClean="0">
                <a:cs typeface="+mn-cs"/>
              </a:rPr>
              <a:pPr/>
              <a:t>2022</a:t>
            </a:fld>
            <a:endParaRPr lang="en-US" sz="1200" dirty="0">
              <a:cs typeface="+mn-cs"/>
            </a:endParaRPr>
          </a:p>
        </p:txBody>
      </p:sp>
      <p:sp>
        <p:nvSpPr>
          <p:cNvPr id="186" name="Text Placeholder 13">
            <a:extLst>
              <a:ext uri="{FF2B5EF4-FFF2-40B4-BE49-F238E27FC236}">
                <a16:creationId xmlns:a16="http://schemas.microsoft.com/office/drawing/2014/main" id="{967B142E-04B7-4C82-9B10-173AE653497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8797925" y="40909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399ABF-3995-4A74-A2F5-B4B5B213B0C5}" type="datetime'''''''''''''''''''''''''''''''4''''''6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46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216" name="Text Placeholder 13">
            <a:extLst>
              <a:ext uri="{FF2B5EF4-FFF2-40B4-BE49-F238E27FC236}">
                <a16:creationId xmlns:a16="http://schemas.microsoft.com/office/drawing/2014/main" id="{E9290397-A410-4A3C-8EC1-0D1FAF0B5F34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1050588" y="45545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2162D7-69BF-4288-9E35-6E28736EB9E4}" type="datetime'''''''''''''''1''''''''''''''4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4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78" name="Text Placeholder 13">
            <a:extLst>
              <a:ext uri="{FF2B5EF4-FFF2-40B4-BE49-F238E27FC236}">
                <a16:creationId xmlns:a16="http://schemas.microsoft.com/office/drawing/2014/main" id="{2C6B5ECF-8C23-470D-89F8-C142C971B9B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6169025" y="44973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ED1406-2AB4-426F-BA0A-7D25A83F0F82}" type="datetime'18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8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217" name="Text Placeholder 13">
            <a:extLst>
              <a:ext uri="{FF2B5EF4-FFF2-40B4-BE49-F238E27FC236}">
                <a16:creationId xmlns:a16="http://schemas.microsoft.com/office/drawing/2014/main" id="{FC4ECCDA-B423-4A6C-9717-DBE9D2D8233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1425238" y="45339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06656B-6849-41F1-A85F-8ED5B85193E7}" type="datetime'''''''''''''''''''''''''''''''''''''''''''''''''16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6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A517FE27-E59C-4807-989E-F3728F84D1E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362200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A64C3B-9661-4611-A456-B8445A2BCD27}" type="datetime'''''''''''''2''''''''''''''''0''23'''''''''''''''''''''''''''">
              <a:rPr lang="en-US" altLang="en-US" sz="1200" smtClean="0">
                <a:cs typeface="+mn-cs"/>
              </a:rPr>
              <a:pPr/>
              <a:t>2023</a:t>
            </a:fld>
            <a:endParaRPr lang="en-US" sz="1200" dirty="0">
              <a:cs typeface="+mn-cs"/>
            </a:endParaRPr>
          </a:p>
        </p:txBody>
      </p:sp>
      <p:sp>
        <p:nvSpPr>
          <p:cNvPr id="60" name="Text Placeholder 13">
            <a:extLst>
              <a:ext uri="{FF2B5EF4-FFF2-40B4-BE49-F238E27FC236}">
                <a16:creationId xmlns:a16="http://schemas.microsoft.com/office/drawing/2014/main" id="{212CA9CE-2BE7-4660-A5D1-8ED3FDC81F8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6869113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733288-75B4-4A50-A978-71A40DD4CD6D}" type="datetime'''''''''''''''''''''''''''2''''''''''''''''0''''''''''''''23'">
              <a:rPr lang="en-US" altLang="en-US" sz="1200" smtClean="0">
                <a:cs typeface="+mn-cs"/>
              </a:rPr>
              <a:pPr/>
              <a:t>2023</a:t>
            </a:fld>
            <a:endParaRPr lang="en-US" sz="1200" dirty="0">
              <a:cs typeface="+mn-cs"/>
            </a:endParaRPr>
          </a:p>
        </p:txBody>
      </p:sp>
      <p:sp>
        <p:nvSpPr>
          <p:cNvPr id="213" name="Text Placeholder 13">
            <a:extLst>
              <a:ext uri="{FF2B5EF4-FFF2-40B4-BE49-F238E27FC236}">
                <a16:creationId xmlns:a16="http://schemas.microsoft.com/office/drawing/2014/main" id="{907EB304-3B31-4676-A4F0-83A461AEB41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928225" y="4606925"/>
            <a:ext cx="238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D793AB-DEC6-4385-84A9-2A9D01CACF43}" type="datetime'''''''''''''''''1''''''''''''''''''1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1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DEB04C0A-CE32-46A6-8C9E-ED9137A365DD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60425" y="50546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027F23-BADD-46E2-B413-CF53F8C05046}" type="datetime'''''''''''''''''2''''0''''''''''''''1''''''9'''''''''''">
              <a:rPr lang="en-US" altLang="en-US" sz="12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200" dirty="0">
              <a:cs typeface="+mn-cs"/>
            </a:endParaRPr>
          </a:p>
        </p:txBody>
      </p:sp>
      <p:sp>
        <p:nvSpPr>
          <p:cNvPr id="171" name="Text Placeholder 13">
            <a:extLst>
              <a:ext uri="{FF2B5EF4-FFF2-40B4-BE49-F238E27FC236}">
                <a16:creationId xmlns:a16="http://schemas.microsoft.com/office/drawing/2014/main" id="{09350488-CE75-4A71-B94F-FEE46932CF2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865563" y="241776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70B339-4019-4936-906E-031DAA2D871A}" type="datetime'''1''''''''''''''''''''''''''''''''''''''6''1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61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70" name="Text Placeholder 13">
            <a:extLst>
              <a:ext uri="{FF2B5EF4-FFF2-40B4-BE49-F238E27FC236}">
                <a16:creationId xmlns:a16="http://schemas.microsoft.com/office/drawing/2014/main" id="{785191D8-002D-4EA1-B195-8371EC842F8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495674" y="3098800"/>
            <a:ext cx="336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9BDB45-81B0-4289-A701-EE290D33FBE3}" type="datetime'''''''''''''''''1''''''1''''''4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14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BE77890-3030-4B4D-8DA3-49141C33536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862014" y="295116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5116B7-196F-4FED-B5EA-C414513EE6DF}" type="datetime'''''''''''''''''''''''''''''1''''24'''''''''''''''''''''''">
              <a:rPr lang="en-US" altLang="en-US" sz="1400" b="1" smtClean="0">
                <a:solidFill>
                  <a:schemeClr val="tx2"/>
                </a:solidFill>
                <a:effectLst/>
                <a:cs typeface="+mn-cs"/>
              </a:rPr>
              <a:pPr/>
              <a:t>124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9A474A2-C34B-4C68-A048-FC9541E1079D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1238251" y="253682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29052A6-F86A-4B50-BAC9-F8C772F6B7D3}" type="datetime'''1''''''5''''''''''''''''''''''''''''3'''''''''''''''''">
              <a:rPr lang="en-US" altLang="en-US" sz="1400" b="1" smtClean="0">
                <a:solidFill>
                  <a:schemeClr val="tx2"/>
                </a:solidFill>
                <a:effectLst/>
                <a:cs typeface="+mn-cs"/>
              </a:rPr>
              <a:pPr/>
              <a:t>153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00" name="Text Placeholder 13">
            <a:extLst>
              <a:ext uri="{FF2B5EF4-FFF2-40B4-BE49-F238E27FC236}">
                <a16:creationId xmlns:a16="http://schemas.microsoft.com/office/drawing/2014/main" id="{D4CB1C1D-49FE-4416-A828-62088B8E026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989139" y="216376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F522F9-E95D-473A-91F2-874961F1B29E}" type="datetime'''''''''''''1''''''''''''''''''''''''''''7''''''8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78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4379DA67-9AAF-4713-ACB5-74F9A7B97E3B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612901" y="26685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E34F53-5A87-454C-85C5-B98C2143C01A}" type="datetime'''''''1''4''''''''''''''''''''''''''''''''''''''''''''4'''">
              <a:rPr lang="en-US" altLang="en-US" sz="1400" b="1" smtClean="0">
                <a:solidFill>
                  <a:schemeClr val="tx2"/>
                </a:solidFill>
                <a:effectLst/>
                <a:cs typeface="+mn-cs"/>
              </a:rPr>
              <a:pPr/>
              <a:t>144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76" name="Text Placeholder 13">
            <a:extLst>
              <a:ext uri="{FF2B5EF4-FFF2-40B4-BE49-F238E27FC236}">
                <a16:creationId xmlns:a16="http://schemas.microsoft.com/office/drawing/2014/main" id="{E9AF42E7-FBAC-48DD-8190-89FD37412AFE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5422900" y="4608513"/>
            <a:ext cx="238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E6F755-7211-4BA3-978C-E647F0574F43}" type="datetime'''''''''''''''''''''1''''''''''''1''''''''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1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77" name="Text Placeholder 13">
            <a:extLst>
              <a:ext uri="{FF2B5EF4-FFF2-40B4-BE49-F238E27FC236}">
                <a16:creationId xmlns:a16="http://schemas.microsoft.com/office/drawing/2014/main" id="{A8733597-36F0-4027-97B4-AFE69E302DE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5792788" y="44418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949D09-DC4A-4FFE-B722-967C3DD1D053}" type="datetime'2''''''''''''''''''2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22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80" name="Text Placeholder 13">
            <a:extLst>
              <a:ext uri="{FF2B5EF4-FFF2-40B4-BE49-F238E27FC236}">
                <a16:creationId xmlns:a16="http://schemas.microsoft.com/office/drawing/2014/main" id="{2FFB9772-16DC-443A-B443-EDBDDE2CCD5C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919913" y="45259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2D99DD-FE77-437C-8263-43E6256D6682}" type="datetime'''''1''''''''''''''6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6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83" name="Text Placeholder 13">
            <a:extLst>
              <a:ext uri="{FF2B5EF4-FFF2-40B4-BE49-F238E27FC236}">
                <a16:creationId xmlns:a16="http://schemas.microsoft.com/office/drawing/2014/main" id="{0DA9151E-F92E-4A09-BCE9-226C0CC19C8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7670800" y="40449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F4E021-B7E7-4B0C-A2C2-0FAC425F3A51}" type="datetime'''''''''''''''''4''''''''''''''9''''''''''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49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85" name="Text Placeholder 13">
            <a:extLst>
              <a:ext uri="{FF2B5EF4-FFF2-40B4-BE49-F238E27FC236}">
                <a16:creationId xmlns:a16="http://schemas.microsoft.com/office/drawing/2014/main" id="{E69BD6ED-906A-4BC1-8887-89E38DD418B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8421688" y="40624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9187FF-F862-4376-BF22-DD09234137B2}" type="datetime'''''''''''''4''8''''''''''''''''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48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87" name="Text Placeholder 13">
            <a:extLst>
              <a:ext uri="{FF2B5EF4-FFF2-40B4-BE49-F238E27FC236}">
                <a16:creationId xmlns:a16="http://schemas.microsoft.com/office/drawing/2014/main" id="{245A5308-5003-436C-B4EF-6E4DD4BB1431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9172575" y="41306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C6FAEBA-3CFC-4215-AB22-EA48E40A8D1C}" type="datetime'''4''''''''''''''''''''''''''''''''''''''''''''''''''''4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44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214" name="Text Placeholder 13">
            <a:extLst>
              <a:ext uri="{FF2B5EF4-FFF2-40B4-BE49-F238E27FC236}">
                <a16:creationId xmlns:a16="http://schemas.microsoft.com/office/drawing/2014/main" id="{52D96CD1-F838-4494-BDF6-04DDBF909162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10299700" y="45910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F61026-AE51-4A94-9226-9D3DC6684E4C}" type="datetime'''''1''''2''''''''''''''''''''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2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215" name="Text Placeholder 13">
            <a:extLst>
              <a:ext uri="{FF2B5EF4-FFF2-40B4-BE49-F238E27FC236}">
                <a16:creationId xmlns:a16="http://schemas.microsoft.com/office/drawing/2014/main" id="{6F5C2CFC-691A-42A0-87E3-D03B6E037F5E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10674350" y="45735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094358-40CC-4F9C-9621-69D26CF0DD04}" type="datetime'''''''''''''''''''''''''''''''1''''''''''''''''''''''''''''3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13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72" name="Text Placeholder 13">
            <a:extLst>
              <a:ext uri="{FF2B5EF4-FFF2-40B4-BE49-F238E27FC236}">
                <a16:creationId xmlns:a16="http://schemas.microsoft.com/office/drawing/2014/main" id="{8CD17116-63F6-4627-B719-59910CF59020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291013" y="37861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E54652-B4C1-4AE6-87A4-3054F6DD4E01}" type="datetime'''''''''''''''''''''6''''''''''''''''7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67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96" name="Text Placeholder 13">
            <a:extLst>
              <a:ext uri="{FF2B5EF4-FFF2-40B4-BE49-F238E27FC236}">
                <a16:creationId xmlns:a16="http://schemas.microsoft.com/office/drawing/2014/main" id="{317F3451-31F4-4649-BDD7-DECFA49ED7A3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898525" y="2133600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EBC751-2EA5-4736-94E9-7CE30C85113D}" type="datetime'''''+''''''''''2''''''''3''''''''''''''''''''%''''''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3%</a:t>
            </a:fld>
            <a:endParaRPr lang="en-US" sz="1400" b="1" dirty="0">
              <a:cs typeface="+mn-cs"/>
            </a:endParaRPr>
          </a:p>
        </p:txBody>
      </p:sp>
      <p:sp>
        <p:nvSpPr>
          <p:cNvPr id="198" name="Text Placeholder 13">
            <a:extLst>
              <a:ext uri="{FF2B5EF4-FFF2-40B4-BE49-F238E27FC236}">
                <a16:creationId xmlns:a16="http://schemas.microsoft.com/office/drawing/2014/main" id="{B3F00102-DFA7-4F16-8129-1012EF6B1F61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649413" y="1760538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B9DDB1-4968-4075-8E4C-5484A4733BEA}" type="datetime'''''''''''''''''''''+2''''''''''4''''''''''''''''''%''''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24%</a:t>
            </a:fld>
            <a:endParaRPr lang="en-US" sz="1400" b="1" dirty="0">
              <a:cs typeface="+mn-cs"/>
            </a:endParaRPr>
          </a:p>
        </p:txBody>
      </p:sp>
      <p:sp>
        <p:nvSpPr>
          <p:cNvPr id="202" name="Text Placeholder 13">
            <a:extLst>
              <a:ext uri="{FF2B5EF4-FFF2-40B4-BE49-F238E27FC236}">
                <a16:creationId xmlns:a16="http://schemas.microsoft.com/office/drawing/2014/main" id="{935330FB-5541-44BC-8486-F3E95B4E6B10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151188" y="2057400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E4263D-8B24-4688-9F67-0DE7084EF91E}" type="datetime'+''''''''''''''''''''1''''6''''%''''''''''''''''''''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6%</a:t>
            </a:fld>
            <a:endParaRPr lang="en-US" sz="1400" b="1" dirty="0">
              <a:cs typeface="+mn-cs"/>
            </a:endParaRPr>
          </a:p>
        </p:txBody>
      </p:sp>
      <p:sp>
        <p:nvSpPr>
          <p:cNvPr id="203" name="Text Placeholder 13">
            <a:extLst>
              <a:ext uri="{FF2B5EF4-FFF2-40B4-BE49-F238E27FC236}">
                <a16:creationId xmlns:a16="http://schemas.microsoft.com/office/drawing/2014/main" id="{5D34C273-00EA-41AE-9BA2-5ECEC8E1FD97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527425" y="1600200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BD5F0C-92BB-4B0B-91EF-7C595143A195}" type="datetime'''+''''''''''''''''''''''4''''''''''''1''''''''''''''%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41%</a:t>
            </a:fld>
            <a:endParaRPr lang="en-US" sz="1400" b="1" dirty="0">
              <a:cs typeface="+mn-cs"/>
            </a:endParaRPr>
          </a:p>
        </p:txBody>
      </p:sp>
      <p:sp>
        <p:nvSpPr>
          <p:cNvPr id="208" name="Text Placeholder 13">
            <a:extLst>
              <a:ext uri="{FF2B5EF4-FFF2-40B4-BE49-F238E27FC236}">
                <a16:creationId xmlns:a16="http://schemas.microsoft.com/office/drawing/2014/main" id="{26FF95CF-3414-46BB-B380-823B87EE73C0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4121150" y="2014538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E79A2F-128E-4B1C-931E-54FE924A2F09}" type="datetime'''''-''''''''''''''''''4''''''''''''''''''''''''''0%''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40%</a:t>
            </a:fld>
            <a:endParaRPr lang="en-US" sz="1400" b="1" dirty="0">
              <a:cs typeface="+mn-cs"/>
            </a:endParaRPr>
          </a:p>
        </p:txBody>
      </p:sp>
      <p:sp>
        <p:nvSpPr>
          <p:cNvPr id="219" name="Text Placeholder 13">
            <a:extLst>
              <a:ext uri="{FF2B5EF4-FFF2-40B4-BE49-F238E27FC236}">
                <a16:creationId xmlns:a16="http://schemas.microsoft.com/office/drawing/2014/main" id="{F4CBF741-6F1B-45A6-B5C7-6A9661231386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335588" y="3800475"/>
            <a:ext cx="7889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6D506A-19A1-43C3-9057-ABB3C5C5462E}" type="datetime'''''''''''''''''''''''''+''''10''''''''''6''%''''''''''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06%</a:t>
            </a:fld>
            <a:endParaRPr lang="en-US" sz="1400" b="1" dirty="0">
              <a:cs typeface="+mn-cs"/>
            </a:endParaRPr>
          </a:p>
        </p:txBody>
      </p:sp>
      <p:sp>
        <p:nvSpPr>
          <p:cNvPr id="220" name="Text Placeholder 13">
            <a:extLst>
              <a:ext uri="{FF2B5EF4-FFF2-40B4-BE49-F238E27FC236}">
                <a16:creationId xmlns:a16="http://schemas.microsoft.com/office/drawing/2014/main" id="{00E32169-3A9A-48CF-A3EF-6D78E10F9586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6186488" y="4094163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D25CE7-597D-45E1-8A01-EC12A1E6F069}" type="datetime'''''''''-''''''''''''''''1''''''''0''%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0%</a:t>
            </a:fld>
            <a:endParaRPr lang="en-US" sz="1400" b="1" dirty="0">
              <a:cs typeface="+mn-cs"/>
            </a:endParaRPr>
          </a:p>
        </p:txBody>
      </p:sp>
      <p:sp>
        <p:nvSpPr>
          <p:cNvPr id="234" name="Text Placeholder 13">
            <a:extLst>
              <a:ext uri="{FF2B5EF4-FFF2-40B4-BE49-F238E27FC236}">
                <a16:creationId xmlns:a16="http://schemas.microsoft.com/office/drawing/2014/main" id="{323E18FF-05B4-47D5-8C22-E34AF4F4F68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8321675" y="3659188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05F7B7-7D57-4FE0-AD52-F36F46430055}" type="datetime'''''''''''''''''''''-''''''''''3''''''''''''''''''''''''''''%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endParaRPr lang="en-US" sz="1400" b="1" dirty="0">
              <a:cs typeface="+mn-cs"/>
            </a:endParaRPr>
          </a:p>
        </p:txBody>
      </p:sp>
      <p:sp>
        <p:nvSpPr>
          <p:cNvPr id="238" name="Text Placeholder 13">
            <a:extLst>
              <a:ext uri="{FF2B5EF4-FFF2-40B4-BE49-F238E27FC236}">
                <a16:creationId xmlns:a16="http://schemas.microsoft.com/office/drawing/2014/main" id="{834E3625-F02E-45B2-98B7-2F32732389D7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10474325" y="4151313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E6CC6B-472A-45A1-A60F-34CE5641FF95}" type="datetime'''''+''''''''''''''''''''''''''''1''''''''''''''0''%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0%</a:t>
            </a:fld>
            <a:endParaRPr lang="en-US" sz="1400" b="1" dirty="0">
              <a:cs typeface="+mn-cs"/>
            </a:endParaRPr>
          </a:p>
        </p:txBody>
      </p:sp>
      <p:pic>
        <p:nvPicPr>
          <p:cNvPr id="242" name="Picture 241">
            <a:extLst>
              <a:ext uri="{FF2B5EF4-FFF2-40B4-BE49-F238E27FC236}">
                <a16:creationId xmlns:a16="http://schemas.microsoft.com/office/drawing/2014/main" id="{9FEC1727-36A5-45FF-A9D6-7BBBBA6A8C1D}"/>
              </a:ext>
            </a:extLst>
          </p:cNvPr>
          <p:cNvPicPr>
            <a:picLocks noChangeAspect="1"/>
          </p:cNvPicPr>
          <p:nvPr/>
        </p:nvPicPr>
        <p:blipFill>
          <a:blip r:embed="rId83"/>
          <a:stretch>
            <a:fillRect/>
          </a:stretch>
        </p:blipFill>
        <p:spPr>
          <a:xfrm>
            <a:off x="9772804" y="1351522"/>
            <a:ext cx="2298391" cy="1432684"/>
          </a:xfrm>
          <a:prstGeom prst="rect">
            <a:avLst/>
          </a:prstGeom>
        </p:spPr>
      </p:pic>
      <p:graphicFrame>
        <p:nvGraphicFramePr>
          <p:cNvPr id="544" name="Table 544">
            <a:extLst>
              <a:ext uri="{FF2B5EF4-FFF2-40B4-BE49-F238E27FC236}">
                <a16:creationId xmlns:a16="http://schemas.microsoft.com/office/drawing/2014/main" id="{E4A87F8A-78E5-40FD-97D9-E64F15A3567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331076"/>
              </p:ext>
            </p:extLst>
          </p:nvPr>
        </p:nvGraphicFramePr>
        <p:xfrm>
          <a:off x="525792" y="5041868"/>
          <a:ext cx="11373430" cy="734985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274686">
                  <a:extLst>
                    <a:ext uri="{9D8B030D-6E8A-4147-A177-3AD203B41FA5}">
                      <a16:colId xmlns:a16="http://schemas.microsoft.com/office/drawing/2014/main" val="1297209535"/>
                    </a:ext>
                  </a:extLst>
                </a:gridCol>
                <a:gridCol w="2274686">
                  <a:extLst>
                    <a:ext uri="{9D8B030D-6E8A-4147-A177-3AD203B41FA5}">
                      <a16:colId xmlns:a16="http://schemas.microsoft.com/office/drawing/2014/main" val="117580266"/>
                    </a:ext>
                  </a:extLst>
                </a:gridCol>
                <a:gridCol w="2274686">
                  <a:extLst>
                    <a:ext uri="{9D8B030D-6E8A-4147-A177-3AD203B41FA5}">
                      <a16:colId xmlns:a16="http://schemas.microsoft.com/office/drawing/2014/main" val="2979540456"/>
                    </a:ext>
                  </a:extLst>
                </a:gridCol>
                <a:gridCol w="2274686">
                  <a:extLst>
                    <a:ext uri="{9D8B030D-6E8A-4147-A177-3AD203B41FA5}">
                      <a16:colId xmlns:a16="http://schemas.microsoft.com/office/drawing/2014/main" val="4012291079"/>
                    </a:ext>
                  </a:extLst>
                </a:gridCol>
                <a:gridCol w="2274686">
                  <a:extLst>
                    <a:ext uri="{9D8B030D-6E8A-4147-A177-3AD203B41FA5}">
                      <a16:colId xmlns:a16="http://schemas.microsoft.com/office/drawing/2014/main" val="2594618685"/>
                    </a:ext>
                  </a:extLst>
                </a:gridCol>
              </a:tblGrid>
              <a:tr h="734985"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+mn-lt"/>
                        </a:rPr>
                        <a:t>Etat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b"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+mn-lt"/>
                        </a:rPr>
                        <a:t>PTF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+mn-lt"/>
                        </a:rPr>
                        <a:t>Collectivités territoriales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+mn-lt"/>
                        </a:rPr>
                        <a:t>Ménage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400" dirty="0">
                          <a:latin typeface="+mn-lt"/>
                        </a:rPr>
                        <a:t>Secteur Privé</a:t>
                      </a:r>
                      <a:endParaRPr lang="en-US" sz="1400" dirty="0">
                        <a:latin typeface="+mn-lt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9059741"/>
                  </a:ext>
                </a:extLst>
              </a:tr>
            </a:tbl>
          </a:graphicData>
        </a:graphic>
      </p:graphicFrame>
      <p:sp>
        <p:nvSpPr>
          <p:cNvPr id="546" name="Title 2">
            <a:extLst>
              <a:ext uri="{FF2B5EF4-FFF2-40B4-BE49-F238E27FC236}">
                <a16:creationId xmlns:a16="http://schemas.microsoft.com/office/drawing/2014/main" id="{B95D16B6-A1EE-4975-A31C-23662BCD359E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u PNDSS par type de financement et par année (2019-2023)</a:t>
            </a:r>
          </a:p>
        </p:txBody>
      </p:sp>
      <p:sp>
        <p:nvSpPr>
          <p:cNvPr id="552" name="TextBox 551">
            <a:extLst>
              <a:ext uri="{FF2B5EF4-FFF2-40B4-BE49-F238E27FC236}">
                <a16:creationId xmlns:a16="http://schemas.microsoft.com/office/drawing/2014/main" id="{61315021-C560-4878-8DA6-BF70FFD3A018}"/>
              </a:ext>
            </a:extLst>
          </p:cNvPr>
          <p:cNvSpPr txBox="1"/>
          <p:nvPr/>
        </p:nvSpPr>
        <p:spPr>
          <a:xfrm>
            <a:off x="-2875" y="1031298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96F23D5D-AA5F-4849-9EE0-EDF27CF425A8}"/>
              </a:ext>
            </a:extLst>
          </p:cNvPr>
          <p:cNvSpPr txBox="1">
            <a:spLocks noChangeAspect="1"/>
          </p:cNvSpPr>
          <p:nvPr/>
        </p:nvSpPr>
        <p:spPr>
          <a:xfrm>
            <a:off x="1665809" y="5887856"/>
            <a:ext cx="9654131" cy="8099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Forte mobilisation des fonds entre 2019 et 2021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</a:rPr>
              <a:t>Diminution observée du financement des ressources externes (phase post-COVID19) 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0443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785F3931-5D03-4F95-B590-EF7BCA595C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4092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8" imgW="416" imgH="416" progId="TCLayout.ActiveDocument.1">
                  <p:embed/>
                </p:oleObj>
              </mc:Choice>
              <mc:Fallback>
                <p:oleObj name="think-cell Slide" r:id="rId4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0ED27258-D0EB-4D40-941E-E8A27B1EB8C7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843444"/>
              </p:ext>
            </p:extLst>
          </p:nvPr>
        </p:nvGraphicFramePr>
        <p:xfrm>
          <a:off x="1004888" y="1150938"/>
          <a:ext cx="10866437" cy="3871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63" name="Text Placeholder 13">
            <a:extLst>
              <a:ext uri="{FF2B5EF4-FFF2-40B4-BE49-F238E27FC236}">
                <a16:creationId xmlns:a16="http://schemas.microsoft.com/office/drawing/2014/main" id="{51264F17-23E9-46AA-B291-831B74140DE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15950" y="3408363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6C62679-8B3C-43D3-AEB6-B24B4E8A7EC3}" type="datetime'''''''''5''''0''''''''''''''''''''''''0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1400" dirty="0">
              <a:cs typeface="+mn-cs"/>
            </a:endParaRPr>
          </a:p>
        </p:txBody>
      </p:sp>
      <p:sp>
        <p:nvSpPr>
          <p:cNvPr id="59" name="Text Placeholder 13">
            <a:extLst>
              <a:ext uri="{FF2B5EF4-FFF2-40B4-BE49-F238E27FC236}">
                <a16:creationId xmlns:a16="http://schemas.microsoft.com/office/drawing/2014/main" id="{6E44EDD7-DA3B-4789-A9CE-A8D75A986BA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15950" y="454818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32E5B6-66B1-422C-9DF1-654D704A6A72}" type="datetime'''''''''''1''''''''''''''''''''''''''''''''0''''''''''0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13992E7F-E5BD-429E-8D94-DA10FC62B9F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15950" y="226695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37B3BE-2C11-4619-BCC0-FC48B88A8372}" type="datetime'9''''''''0''''''''''''''''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0</a:t>
            </a:fld>
            <a:endParaRPr lang="en-US" sz="1400" dirty="0">
              <a:cs typeface="+mn-cs"/>
            </a:endParaRPr>
          </a:p>
        </p:txBody>
      </p:sp>
      <p:sp>
        <p:nvSpPr>
          <p:cNvPr id="53" name="Text Placeholder 13">
            <a:extLst>
              <a:ext uri="{FF2B5EF4-FFF2-40B4-BE49-F238E27FC236}">
                <a16:creationId xmlns:a16="http://schemas.microsoft.com/office/drawing/2014/main" id="{FEC068D4-C50A-4206-9AC1-57D9D7C5C55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15950" y="255270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D7FA87F-183C-42DD-9400-92C8B8A44690}" type="datetime'''8''''''''''''''''''0''''''''0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0</a:t>
            </a:fld>
            <a:endParaRPr lang="en-US" sz="1400" dirty="0">
              <a:cs typeface="+mn-cs"/>
            </a:endParaRPr>
          </a:p>
        </p:txBody>
      </p:sp>
      <p:sp>
        <p:nvSpPr>
          <p:cNvPr id="54" name="Text Placeholder 13">
            <a:extLst>
              <a:ext uri="{FF2B5EF4-FFF2-40B4-BE49-F238E27FC236}">
                <a16:creationId xmlns:a16="http://schemas.microsoft.com/office/drawing/2014/main" id="{C1E57E45-A2DC-4F83-8425-D6C4B52F805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68313" y="1982788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F118D51-C977-4B20-BE69-525AB167BF7D}" type="datetime'''1'''''''''''''''''''''',''''''''''00''0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1400" dirty="0">
              <a:cs typeface="+mn-cs"/>
            </a:endParaRPr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BB1C568B-CE4C-4A52-824E-4B94E9BDFF4E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15950" y="283845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A5A83CD-DDFB-4CD6-97F5-D5B12BEAE901}" type="datetime'''''''''''''''''''''''''''''''''7''''''''''''0''0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0</a:t>
            </a:fld>
            <a:endParaRPr lang="en-US" sz="1400" dirty="0">
              <a:cs typeface="+mn-cs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BEF80942-D89D-4B41-907C-439EBFE2FBA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12800" y="48339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6E0925C-96B1-4FF2-BC09-F3EF07EB94CB}" type="datetime'''''''''''''''''''''''''''''''''''''''''''''''''''''''''0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07D3B13F-52AC-4306-AE38-789F485E10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15950" y="3122613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8849E4E-DF3B-466A-8304-9874CCDD5C5A}" type="datetime'''''''''''''''''''''''6''0''''''''''''''''''''''''''''0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0</a:t>
            </a:fld>
            <a:endParaRPr lang="en-US" sz="1400" dirty="0">
              <a:cs typeface="+mn-cs"/>
            </a:endParaRPr>
          </a:p>
        </p:txBody>
      </p:sp>
      <p:sp>
        <p:nvSpPr>
          <p:cNvPr id="67" name="Text Placeholder 13">
            <a:extLst>
              <a:ext uri="{FF2B5EF4-FFF2-40B4-BE49-F238E27FC236}">
                <a16:creationId xmlns:a16="http://schemas.microsoft.com/office/drawing/2014/main" id="{05812C35-59E3-4C5F-8BB9-36C81E8F021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68313" y="1697038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9EBC086-4E5B-4301-A152-A25C8294DFEA}" type="datetime'''''''1,''''''''''''10''''''''''''0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100</a:t>
            </a:fld>
            <a:endParaRPr lang="en-US" sz="1400" dirty="0">
              <a:cs typeface="+mn-cs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00767A98-BC26-4E37-A5F7-E16C81F1CE0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15950" y="4264025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5C4C6D-58C7-4E6C-9014-7CC57842E177}" type="datetime'''''''''''''''''''''''2''''''''''''''''''''''0''''''''0'">
              <a:rPr lang="en-US" altLang="en-US" sz="1400" smtClean="0">
                <a:cs typeface="+mn-cs"/>
              </a:rPr>
              <a:pPr/>
              <a:t>200</a:t>
            </a:fld>
            <a:endParaRPr lang="en-US" sz="1400" dirty="0">
              <a:cs typeface="+mn-cs"/>
            </a:endParaRPr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966D368A-08A6-4FC5-87B3-DEB017386B3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68313" y="1412875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6DB02C-0E14-45AA-B6A2-925789FBF9D1}" type="datetime'''''''''1'''''''',''2''0''''''''''''''''''''''0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200</a:t>
            </a:fld>
            <a:endParaRPr lang="en-US" sz="1400" dirty="0">
              <a:cs typeface="+mn-cs"/>
            </a:endParaRPr>
          </a:p>
        </p:txBody>
      </p:sp>
      <p:sp>
        <p:nvSpPr>
          <p:cNvPr id="61" name="Text Placeholder 13">
            <a:extLst>
              <a:ext uri="{FF2B5EF4-FFF2-40B4-BE49-F238E27FC236}">
                <a16:creationId xmlns:a16="http://schemas.microsoft.com/office/drawing/2014/main" id="{6CE0DD97-41F6-46ED-A42C-74214AC4B1B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15950" y="3978275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2881C95-33AD-4842-B17B-2BC3DD53C387}" type="datetime'''3''''''''''''''''''''''''''''''0''''''''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400" dirty="0">
              <a:cs typeface="+mn-cs"/>
            </a:endParaRPr>
          </a:p>
        </p:txBody>
      </p:sp>
      <p:sp>
        <p:nvSpPr>
          <p:cNvPr id="68" name="Text Placeholder 13">
            <a:extLst>
              <a:ext uri="{FF2B5EF4-FFF2-40B4-BE49-F238E27FC236}">
                <a16:creationId xmlns:a16="http://schemas.microsoft.com/office/drawing/2014/main" id="{DF04A32F-B1B5-4EC2-8C48-4CAB996319A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68313" y="1127125"/>
            <a:ext cx="442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B6D5DDF-D72B-42AE-AC2A-372D15DBFE40}" type="datetime'''''''''''''1'''''''''''''',''''''''30''0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,300</a:t>
            </a:fld>
            <a:endParaRPr lang="en-US" sz="1400" dirty="0">
              <a:cs typeface="+mn-cs"/>
            </a:endParaRP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5DCBD6BB-DFCE-4929-AD18-95CD1F331BB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15950" y="3694113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67CB4D9-F8CF-4DD6-A9FE-CF20240FEEE1}" type="datetime'''40''''''''''''''''''0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0</a:t>
            </a:fld>
            <a:endParaRPr lang="en-US" sz="1400" dirty="0">
              <a:cs typeface="+mn-cs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63DF8C29-27C9-41DB-AA22-E782EEE8386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10674350" y="4710113"/>
            <a:ext cx="444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A802EECA-9DEA-4D44-AC2E-83A1EF21BE94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2157413" y="1460500"/>
            <a:ext cx="0" cy="10334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B45F78E5-0DFE-453E-8E6C-11AEC0BB2D78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0717213" y="4706938"/>
            <a:ext cx="0" cy="476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0" name="Straight Connector 229">
            <a:extLst>
              <a:ext uri="{FF2B5EF4-FFF2-40B4-BE49-F238E27FC236}">
                <a16:creationId xmlns:a16="http://schemas.microsoft.com/office/drawing/2014/main" id="{F79381B7-F8D0-4AF8-B848-B2621726CF4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V="1">
            <a:off x="8577263" y="4287838"/>
            <a:ext cx="0" cy="2190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0" name="Straight Connector 199">
            <a:extLst>
              <a:ext uri="{FF2B5EF4-FFF2-40B4-BE49-F238E27FC236}">
                <a16:creationId xmlns:a16="http://schemas.microsoft.com/office/drawing/2014/main" id="{F36DA934-A073-45E5-879E-E772FAE8748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6437313" y="4568825"/>
            <a:ext cx="0" cy="133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74C0239B-06D9-4041-85DF-AD989C26B385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2157413" y="2706688"/>
            <a:ext cx="0" cy="285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ECEAA06-8B5D-4087-9A3D-E9F30DC5E0DA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H="1">
            <a:off x="8534400" y="4503738"/>
            <a:ext cx="444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79DABEA-62C9-4DEA-9E6F-859BA6922700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auto">
          <a:xfrm flipV="1">
            <a:off x="4297363" y="3519488"/>
            <a:ext cx="0" cy="395287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2777F03-1DB3-4350-8DE2-EE141CB4A009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auto">
          <a:xfrm flipV="1">
            <a:off x="4297363" y="4127501"/>
            <a:ext cx="0" cy="2190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03213E8-3346-4EE3-838B-C06685D1924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124325" y="391477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06FB94-17D9-42EA-BD12-2E06650285B1}" type="datetime'''''''''''2''''''''''1''''''''''''''''''0'''''''''''''''''">
              <a:rPr lang="en-US" altLang="en-US" sz="1400" b="1" smtClean="0">
                <a:solidFill>
                  <a:srgbClr val="C30C3E"/>
                </a:solidFill>
                <a:cs typeface="+mn-cs"/>
              </a:rPr>
              <a:pPr/>
              <a:t>210</a:t>
            </a:fld>
            <a:endParaRPr lang="en-US" sz="1400" b="1" dirty="0">
              <a:solidFill>
                <a:srgbClr val="C30C3E"/>
              </a:solidFill>
              <a:cs typeface="+mn-cs"/>
            </a:endParaRP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244BD29B-088D-4983-BA7D-D572FBC845F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911350" y="1035050"/>
            <a:ext cx="493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C39D8B-B677-4238-96D0-F345BA055531}" type="datetime'''''1'',''''2''1''9'">
              <a:rPr lang="en-US" altLang="en-US" sz="1400" b="1" smtClean="0">
                <a:solidFill>
                  <a:srgbClr val="C30C3E"/>
                </a:solidFill>
                <a:cs typeface="+mn-cs"/>
              </a:rPr>
              <a:pPr/>
              <a:t>1,219</a:t>
            </a:fld>
            <a:endParaRPr lang="en-US" sz="1400" b="1" dirty="0">
              <a:solidFill>
                <a:srgbClr val="C30C3E"/>
              </a:solidFill>
              <a:cs typeface="+mn-cs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8D0D6D95-4AFA-4193-89DA-481B376DD64E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264275" y="414337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FE136C2-BFB0-41DD-B462-5A2D7B664497}" type="datetime'''''''''''''''''''''''''1''''''''''''''2''''''''''''''''9'''">
              <a:rPr lang="en-US" altLang="en-US" sz="1400" b="1" smtClean="0">
                <a:solidFill>
                  <a:srgbClr val="C30C3E"/>
                </a:solidFill>
                <a:cs typeface="+mn-cs"/>
              </a:rPr>
              <a:pPr/>
              <a:t>129</a:t>
            </a:fld>
            <a:endParaRPr lang="en-US" sz="1400" b="1" dirty="0">
              <a:solidFill>
                <a:srgbClr val="C30C3E"/>
              </a:solidFill>
              <a:cs typeface="+mn-cs"/>
            </a:endParaRP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5B73A2E8-FD9E-4DCE-8673-368205ED5634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992313" y="4999038"/>
            <a:ext cx="328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3251C1-5287-4F3D-9909-4640342A0E15}" type="datetime'E''''''''''''''''''t''''''''''''a''''t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BD49D707-69E9-43C3-98B8-F8699746E095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122738" y="4999038"/>
            <a:ext cx="347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4D482F-FBE2-4A7F-8B21-4B31112993E8}" type="datetime'P''''''''''''''''''T''''''''''''''''''''''''F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D756ED33-CABB-48BC-89B9-45C725177D6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313488" y="4999038"/>
            <a:ext cx="249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5BC522-79AB-4265-97B3-D26B381DC011}" type="datetime'''''CT'''''''''''''''''''''''''''''''''">
              <a:rPr lang="en-US" altLang="en-US" sz="1400" smtClean="0">
                <a:cs typeface="+mn-cs"/>
              </a:rPr>
              <a:pPr/>
              <a:t>CT</a:t>
            </a:fld>
            <a:endParaRPr lang="en-US" sz="1400" dirty="0">
              <a:cs typeface="+mn-cs"/>
            </a:endParaRP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5C515B36-1A9A-45BF-9795-DE42AD061ADE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405813" y="40751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E9C89B4-89C6-4AE7-AA77-6BA0037E7B37}" type="datetime'''''1''''''''''''''''''5''''''''''''''''''''3'''''''''''">
              <a:rPr lang="en-US" altLang="en-US" sz="1400" b="1" smtClean="0">
                <a:solidFill>
                  <a:srgbClr val="C30C3E"/>
                </a:solidFill>
                <a:cs typeface="+mn-cs"/>
              </a:rPr>
              <a:pPr/>
              <a:t>153</a:t>
            </a:fld>
            <a:endParaRPr lang="en-US" sz="1400" b="1" dirty="0">
              <a:solidFill>
                <a:srgbClr val="C30C3E"/>
              </a:solidFill>
              <a:cs typeface="+mn-cs"/>
            </a:endParaRP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DD9F33A5-3E91-4341-B730-DC2C391C74F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8207375" y="4999038"/>
            <a:ext cx="741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727122-BE73-41D6-B593-9E594F56484F}" type="datetime'''''''''M''é''''''''''''''''na''g''''e''s''''''''''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62" name="Text Placeholder 13">
            <a:extLst>
              <a:ext uri="{FF2B5EF4-FFF2-40B4-BE49-F238E27FC236}">
                <a16:creationId xmlns:a16="http://schemas.microsoft.com/office/drawing/2014/main" id="{9A117737-7E6F-4780-9A7E-18030C3F34D7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594975" y="42814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7C5B42-704C-497C-8388-1867C975848A}" type="datetime'''8''1'''''''''''''''''''''''''''''''''''''''''''''''''''">
              <a:rPr lang="en-US" altLang="en-US" sz="1400" b="1" smtClean="0">
                <a:solidFill>
                  <a:srgbClr val="C30C3E"/>
                </a:solidFill>
                <a:cs typeface="+mn-cs"/>
              </a:rPr>
              <a:pPr/>
              <a:t>81</a:t>
            </a:fld>
            <a:endParaRPr lang="en-US" sz="1400" b="1" dirty="0">
              <a:solidFill>
                <a:srgbClr val="C30C3E"/>
              </a:solidFill>
              <a:cs typeface="+mn-cs"/>
            </a:endParaRPr>
          </a:p>
        </p:txBody>
      </p:sp>
      <p:sp>
        <p:nvSpPr>
          <p:cNvPr id="49" name="Text Placeholder 13">
            <a:extLst>
              <a:ext uri="{FF2B5EF4-FFF2-40B4-BE49-F238E27FC236}">
                <a16:creationId xmlns:a16="http://schemas.microsoft.com/office/drawing/2014/main" id="{67E8102D-FCED-4718-A069-AF91045006E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179050" y="4999039"/>
            <a:ext cx="1077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EF6448-1106-49D3-BB10-963A5D94FA3B}" type="datetime'S''''''''e''''ct''''e''u''''''''r'' ''''P''r''i''vé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35DEEB6-AB72-4218-B13F-D4EAE1D731B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122738" y="32845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C4CF0D-2AB2-43FD-BF9C-E537A7ACA3BB}" type="datetime'''''''''''''''''4''''9''''''''''''''7''''''''''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497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5C60ABE4-790C-4FF9-9428-CBEEB1CCDA1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982788" y="249396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6DD4D9-80A0-49ED-A890-6ECAD7502850}" type="datetime'77''''''''''''''''''''''''''''''''''''''''''''''5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775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1AFB0550-4085-4E3C-AC44-89661FF86A4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032500" y="44608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FEA97D-30B3-47D5-8C5B-DCB0C001AA20}" type="datetime'''''''''8''''5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85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3E44C100-0323-4B99-AD84-199C113D4E34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404225" y="38623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E7A9B0-0D38-4F7D-9C2F-98645EDAE690}" type="datetime'''''2''''3''''''''''''''''''6''''''''''''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236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64" name="Text Placeholder 13">
            <a:extLst>
              <a:ext uri="{FF2B5EF4-FFF2-40B4-BE49-F238E27FC236}">
                <a16:creationId xmlns:a16="http://schemas.microsoft.com/office/drawing/2014/main" id="{23C7AE7E-629A-41D5-A181-1F9765A4344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313988" y="45132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EB449C-3A2C-417D-AFAD-D7FE2755C323}" type="datetime'''''6''''''''''''6'">
              <a:rPr lang="en-US" altLang="en-US" sz="1400" b="1" smtClean="0">
                <a:solidFill>
                  <a:schemeClr val="tx2"/>
                </a:solidFill>
                <a:cs typeface="+mn-cs"/>
              </a:rPr>
              <a:pPr/>
              <a:t>66</a:t>
            </a:fld>
            <a:endParaRPr lang="en-US" sz="1400" b="1" dirty="0">
              <a:solidFill>
                <a:schemeClr val="tx2"/>
              </a:solidFill>
              <a:cs typeface="+mn-cs"/>
            </a:endParaRPr>
          </a:p>
        </p:txBody>
      </p:sp>
      <p:sp>
        <p:nvSpPr>
          <p:cNvPr id="176" name="Text Placeholder 13">
            <a:extLst>
              <a:ext uri="{FF2B5EF4-FFF2-40B4-BE49-F238E27FC236}">
                <a16:creationId xmlns:a16="http://schemas.microsoft.com/office/drawing/2014/main" id="{1EF544F9-2065-43EE-B354-0320DEBE9D5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417888" y="3613150"/>
            <a:ext cx="7889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4B9109-E6BB-4D52-B4ED-CD8A7FF53F4B}" type="datetime'''''''+''1''3''''''''''''''7''''''''''''''''''%'''''''''''">
              <a:rPr lang="en-US" altLang="en-US" sz="1400" b="1" smtClean="0">
                <a:effectLst/>
                <a:cs typeface="+mn-cs"/>
              </a:rPr>
              <a:pPr/>
              <a:t>+137%</a:t>
            </a:fld>
            <a:endParaRPr lang="en-US" sz="1400" b="1" dirty="0">
              <a:cs typeface="+mn-cs"/>
            </a:endParaRPr>
          </a:p>
        </p:txBody>
      </p:sp>
      <p:sp>
        <p:nvSpPr>
          <p:cNvPr id="168" name="Text Placeholder 13">
            <a:extLst>
              <a:ext uri="{FF2B5EF4-FFF2-40B4-BE49-F238E27FC236}">
                <a16:creationId xmlns:a16="http://schemas.microsoft.com/office/drawing/2014/main" id="{A60B83B9-FF0A-42EA-B960-60DB0EFE70CF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863726" y="1903413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75A5A90-0D60-445C-85C1-6C4CC3E0CDE8}" type="datetime'-''''''36''''''%'''''''''''''''''''''''">
              <a:rPr lang="en-US" altLang="en-US" sz="1400" b="1" smtClean="0">
                <a:effectLst/>
                <a:cs typeface="+mn-cs"/>
              </a:rPr>
              <a:pPr/>
              <a:t>-36%</a:t>
            </a:fld>
            <a:endParaRPr lang="en-US" sz="1400" b="1" dirty="0">
              <a:cs typeface="+mn-cs"/>
            </a:endParaRPr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CBABECA-A4EB-4A97-91CE-82EB6BD33C1A}"/>
              </a:ext>
            </a:extLst>
          </p:cNvPr>
          <p:cNvCxnSpPr/>
          <p:nvPr>
            <p:custDataLst>
              <p:tags r:id="rId44"/>
            </p:custDataLst>
          </p:nvPr>
        </p:nvCxnSpPr>
        <p:spPr bwMode="gray">
          <a:xfrm>
            <a:off x="9874250" y="1462088"/>
            <a:ext cx="304800" cy="0"/>
          </a:xfrm>
          <a:prstGeom prst="line">
            <a:avLst/>
          </a:prstGeom>
          <a:ln w="19050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23248A78-9A61-4040-92EB-23354634EF4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234613" y="1363663"/>
            <a:ext cx="148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506C056-8E92-491D-A2E4-45F6E8E02A4A}" type="datetime'''P''''r''é''''''''v''i''''''s''i''o''ns'''' P''''N''DSS'''">
              <a:rPr lang="en-US" altLang="en-US" sz="1400" smtClean="0">
                <a:cs typeface="+mn-cs"/>
              </a:rPr>
              <a:pPr/>
              <a:t>Prévisions PNDSS</a:t>
            </a:fld>
            <a:endParaRPr lang="en-US" sz="1400" dirty="0">
              <a:cs typeface="+mn-cs"/>
            </a:endParaRPr>
          </a:p>
        </p:txBody>
      </p:sp>
      <p:sp>
        <p:nvSpPr>
          <p:cNvPr id="50" name="Title 2">
            <a:extLst>
              <a:ext uri="{FF2B5EF4-FFF2-40B4-BE49-F238E27FC236}">
                <a16:creationId xmlns:a16="http://schemas.microsoft.com/office/drawing/2014/main" id="{4713507E-5127-42CC-ABE4-7D8F02803EA9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 des prévisions de ressources dans le PNDSS par rapport aux ressources (2019-2023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708F9DDD-4B13-4132-B891-7AB52DA244BE}"/>
              </a:ext>
            </a:extLst>
          </p:cNvPr>
          <p:cNvSpPr txBox="1"/>
          <p:nvPr/>
        </p:nvSpPr>
        <p:spPr>
          <a:xfrm>
            <a:off x="161865" y="1061191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8A51356-F0E3-4350-AB41-B2B7115CF268}"/>
              </a:ext>
            </a:extLst>
          </p:cNvPr>
          <p:cNvSpPr txBox="1">
            <a:spLocks noChangeAspect="1"/>
          </p:cNvSpPr>
          <p:nvPr/>
        </p:nvSpPr>
        <p:spPr>
          <a:xfrm>
            <a:off x="812800" y="5389564"/>
            <a:ext cx="10975976" cy="130821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algn="just">
              <a:lnSpc>
                <a:spcPct val="150000"/>
              </a:lnSpc>
            </a:pPr>
            <a:r>
              <a:rPr lang="fr-FR" sz="1600" dirty="0">
                <a:solidFill>
                  <a:schemeClr val="tx1"/>
                </a:solidFill>
              </a:rPr>
              <a:t>Par rapport aux prévisions des ressources du PNDSS par source : 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chemeClr val="tx1"/>
                </a:solidFill>
              </a:rPr>
              <a:t>Surestimation: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r>
              <a:rPr lang="fr-FR" sz="1600" b="1" dirty="0">
                <a:solidFill>
                  <a:schemeClr val="tx1"/>
                </a:solidFill>
              </a:rPr>
              <a:t>ressources publiques de l'Etat</a:t>
            </a:r>
            <a:r>
              <a:rPr lang="fr-FR" sz="1600" dirty="0">
                <a:solidFill>
                  <a:schemeClr val="tx1"/>
                </a:solidFill>
              </a:rPr>
              <a:t>, des </a:t>
            </a:r>
            <a:r>
              <a:rPr lang="fr-FR" sz="1600" b="1" dirty="0">
                <a:solidFill>
                  <a:schemeClr val="tx1"/>
                </a:solidFill>
              </a:rPr>
              <a:t>collectivités territoriales </a:t>
            </a:r>
            <a:r>
              <a:rPr lang="fr-FR" sz="1600" dirty="0">
                <a:solidFill>
                  <a:schemeClr val="tx1"/>
                </a:solidFill>
              </a:rPr>
              <a:t>et du </a:t>
            </a:r>
            <a:r>
              <a:rPr lang="fr-FR" sz="1600" b="1" dirty="0">
                <a:solidFill>
                  <a:schemeClr val="tx1"/>
                </a:solidFill>
              </a:rPr>
              <a:t>secteur privé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chemeClr val="tx1"/>
                </a:solidFill>
              </a:rPr>
              <a:t>Sous-estimation:</a:t>
            </a:r>
            <a:r>
              <a:rPr lang="fr-FR" sz="1600" dirty="0">
                <a:solidFill>
                  <a:schemeClr val="tx1"/>
                </a:solidFill>
              </a:rPr>
              <a:t> ressources externes </a:t>
            </a:r>
            <a:r>
              <a:rPr lang="fr-FR" sz="1600" b="1" dirty="0">
                <a:solidFill>
                  <a:schemeClr val="tx1"/>
                </a:solidFill>
              </a:rPr>
              <a:t>des PTF et </a:t>
            </a:r>
            <a:r>
              <a:rPr lang="fr-FR" sz="1600" dirty="0">
                <a:solidFill>
                  <a:schemeClr val="tx1"/>
                </a:solidFill>
              </a:rPr>
              <a:t>de la contribution des </a:t>
            </a:r>
            <a:r>
              <a:rPr lang="fr-FR" sz="1600" b="1" dirty="0">
                <a:solidFill>
                  <a:schemeClr val="tx1"/>
                </a:solidFill>
              </a:rPr>
              <a:t>ménages</a:t>
            </a:r>
            <a:r>
              <a:rPr lang="fr-FR" sz="1600" dirty="0">
                <a:solidFill>
                  <a:schemeClr val="tx1"/>
                </a:solidFill>
              </a:rPr>
              <a:t> </a:t>
            </a:r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9620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16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es PTF du PNDSS (2019-2023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219A82B-1273-40F7-ADC0-46B7B0C85B63}"/>
              </a:ext>
            </a:extLst>
          </p:cNvPr>
          <p:cNvSpPr txBox="1">
            <a:spLocks noChangeAspect="1"/>
          </p:cNvSpPr>
          <p:nvPr/>
        </p:nvSpPr>
        <p:spPr>
          <a:xfrm>
            <a:off x="8781353" y="3011071"/>
            <a:ext cx="3062716" cy="152148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182880" rIns="274320" rtlCol="0" anchor="ctr" anchorCtr="0">
            <a:noAutofit/>
          </a:bodyPr>
          <a:lstStyle/>
          <a:p>
            <a:pPr algn="just"/>
            <a:r>
              <a:rPr lang="fr-FR" sz="1600" b="1" dirty="0"/>
              <a:t>Plus de 58% </a:t>
            </a:r>
            <a:r>
              <a:rPr lang="fr-FR" sz="1600" dirty="0"/>
              <a:t>de la contribution des PTF proviennent de 3 partenaires principaux : la </a:t>
            </a:r>
            <a:r>
              <a:rPr lang="fr-FR" sz="1600" b="1" dirty="0"/>
              <a:t>Banque Mondiale</a:t>
            </a:r>
            <a:r>
              <a:rPr lang="fr-FR" sz="1600" dirty="0"/>
              <a:t>, le </a:t>
            </a:r>
            <a:r>
              <a:rPr lang="fr-FR" sz="1600" b="1" dirty="0"/>
              <a:t>Fonds Mondial </a:t>
            </a:r>
            <a:r>
              <a:rPr lang="fr-FR" sz="1600" dirty="0"/>
              <a:t>et </a:t>
            </a:r>
            <a:r>
              <a:rPr lang="fr-FR" sz="1600" b="1" dirty="0"/>
              <a:t>USAI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49871BA-597A-4520-9433-96DA902DA71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-78752" y="1053197"/>
            <a:ext cx="8782805" cy="5437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58042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>
            <a:extLst>
              <a:ext uri="{FF2B5EF4-FFF2-40B4-BE49-F238E27FC236}">
                <a16:creationId xmlns:a16="http://schemas.microsoft.com/office/drawing/2014/main" id="{CDF90F2A-440E-46A8-AE6A-EDDA1BC2E7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0059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5" imgW="416" imgH="416" progId="TCLayout.ActiveDocument.1">
                  <p:embed/>
                </p:oleObj>
              </mc:Choice>
              <mc:Fallback>
                <p:oleObj name="think-cell Slide" r:id="rId65" imgW="416" imgH="416" progId="TCLayout.ActiveDocument.1">
                  <p:embed/>
                  <p:pic>
                    <p:nvPicPr>
                      <p:cNvPr id="29" name="Object 28" hidden="1">
                        <a:extLst>
                          <a:ext uri="{FF2B5EF4-FFF2-40B4-BE49-F238E27FC236}">
                            <a16:creationId xmlns:a16="http://schemas.microsoft.com/office/drawing/2014/main" id="{CDF90F2A-440E-46A8-AE6A-EDDA1BC2E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" name="Chart 511">
            <a:extLst>
              <a:ext uri="{FF2B5EF4-FFF2-40B4-BE49-F238E27FC236}">
                <a16:creationId xmlns:a16="http://schemas.microsoft.com/office/drawing/2014/main" id="{4B95E802-1EA6-40D9-B860-FE247DEFA07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63179616"/>
              </p:ext>
            </p:extLst>
          </p:nvPr>
        </p:nvGraphicFramePr>
        <p:xfrm>
          <a:off x="1031875" y="1152525"/>
          <a:ext cx="2516188" cy="4227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cxnSp>
        <p:nvCxnSpPr>
          <p:cNvPr id="505" name="Straight Connector 504">
            <a:extLst>
              <a:ext uri="{FF2B5EF4-FFF2-40B4-BE49-F238E27FC236}">
                <a16:creationId xmlns:a16="http://schemas.microsoft.com/office/drawing/2014/main" id="{E4DA2673-424D-420C-AD29-7EEE825D295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592263" y="3584575"/>
            <a:ext cx="79375" cy="5064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6" name="Straight Connector 505">
            <a:extLst>
              <a:ext uri="{FF2B5EF4-FFF2-40B4-BE49-F238E27FC236}">
                <a16:creationId xmlns:a16="http://schemas.microsoft.com/office/drawing/2014/main" id="{C9A0EFE4-899A-402D-8ED0-68822B77759C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592263" y="3848100"/>
            <a:ext cx="79375" cy="5683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7" name="Straight Connector 506">
            <a:extLst>
              <a:ext uri="{FF2B5EF4-FFF2-40B4-BE49-F238E27FC236}">
                <a16:creationId xmlns:a16="http://schemas.microsoft.com/office/drawing/2014/main" id="{9E4BE816-2294-4C78-B64E-96ECABA4C6A5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1592263" y="4111625"/>
            <a:ext cx="79375" cy="542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8" name="Straight Connector 507">
            <a:extLst>
              <a:ext uri="{FF2B5EF4-FFF2-40B4-BE49-F238E27FC236}">
                <a16:creationId xmlns:a16="http://schemas.microsoft.com/office/drawing/2014/main" id="{82FFE4B8-46BB-46A5-A226-D09B1C118D2E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592263" y="4375150"/>
            <a:ext cx="79375" cy="487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9" name="Straight Connector 508">
            <a:extLst>
              <a:ext uri="{FF2B5EF4-FFF2-40B4-BE49-F238E27FC236}">
                <a16:creationId xmlns:a16="http://schemas.microsoft.com/office/drawing/2014/main" id="{CFBEAFA8-38AE-45B2-96E6-9B75FAF22DD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592263" y="4638675"/>
            <a:ext cx="79375" cy="4000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0" name="Straight Connector 509">
            <a:extLst>
              <a:ext uri="{FF2B5EF4-FFF2-40B4-BE49-F238E27FC236}">
                <a16:creationId xmlns:a16="http://schemas.microsoft.com/office/drawing/2014/main" id="{5B37B8D0-A4CB-4F25-8BA4-59F0A15D5E86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1592263" y="4902200"/>
            <a:ext cx="79375" cy="282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1" name="Straight Connector 510">
            <a:extLst>
              <a:ext uri="{FF2B5EF4-FFF2-40B4-BE49-F238E27FC236}">
                <a16:creationId xmlns:a16="http://schemas.microsoft.com/office/drawing/2014/main" id="{FE7297AE-3139-40A3-BCEB-EFEA9625DB5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592263" y="5165725"/>
            <a:ext cx="79375" cy="106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29779A2A-73E2-495B-ACD2-72667537D598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425700" y="5078413"/>
            <a:ext cx="30797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042D24F-91D6-4E84-8729-FA9007314D69}" type="datetime'''''''''''''''''3''''''''''''%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78" name="Text Placeholder 13">
            <a:extLst>
              <a:ext uri="{FF2B5EF4-FFF2-40B4-BE49-F238E27FC236}">
                <a16:creationId xmlns:a16="http://schemas.microsoft.com/office/drawing/2014/main" id="{0FD2059D-48BC-425D-8493-72B5DFE6864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70000" y="4532313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97AD223-5965-4574-A6E8-0314B8EC6FED}" type="datetime'''''''''''I''''''''''''''''''''''''''D''''''B'''''''''''''''">
              <a:rPr lang="en-US" altLang="en-US" sz="1400" smtClean="0"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IDB</a:t>
            </a:fld>
            <a:endParaRPr lang="en-US" sz="1400" dirty="0">
              <a:cs typeface="+mn-cs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D02F88EA-2638-4F0E-94AC-A73A57330D6A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846263" y="5165725"/>
            <a:ext cx="307975" cy="212725"/>
          </a:xfrm>
          <a:prstGeom prst="rect">
            <a:avLst/>
          </a:prstGeom>
          <a:solidFill>
            <a:srgbClr val="D0B3D7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18476A-D4DD-48D1-9942-6AFAF074C2D8}" type="datetime'''1''''%'''''''''''''''''''''''''''''''''''''''''''">
              <a:rPr lang="en-US" altLang="en-US" sz="1400" smtClean="0">
                <a:effectLst/>
                <a:cs typeface="+mn-cs"/>
              </a:rPr>
              <a:pPr/>
              <a:t>1%</a:t>
            </a:fld>
            <a:endParaRPr lang="en-US" sz="1400" dirty="0">
              <a:cs typeface="+mn-cs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B18F4959-8477-49AA-9CBC-8655AF29275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085975" y="54371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43E5AE-507D-4DC7-8319-1B622A0815EF}" type="datetime'''''''2''''''''''''''''''''0''''''1''''''''''9'''''''''''''">
              <a:rPr lang="en-US" altLang="en-US" sz="1400" smtClean="0">
                <a:cs typeface="+mn-cs"/>
              </a:rPr>
              <a:pPr/>
              <a:t>2019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13">
            <a:extLst>
              <a:ext uri="{FF2B5EF4-FFF2-40B4-BE49-F238E27FC236}">
                <a16:creationId xmlns:a16="http://schemas.microsoft.com/office/drawing/2014/main" id="{517A3F3D-6BDD-44EA-9CC3-ACA6300C4C6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76313" y="4268788"/>
            <a:ext cx="590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CBCB997-0975-44FA-B445-77FEF23BAB1F}" type="datetime'''''''''UN''''''F''''''''P''''''''''''''A'''''''">
              <a:rPr lang="en-US" altLang="en-US" sz="1400" smtClean="0"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NFPA</a:t>
            </a:fld>
            <a:endParaRPr lang="en-US" sz="1400" dirty="0">
              <a:cs typeface="+mn-cs"/>
            </a:endParaRPr>
          </a:p>
        </p:txBody>
      </p:sp>
      <p:sp>
        <p:nvSpPr>
          <p:cNvPr id="270" name="Text Placeholder 13">
            <a:extLst>
              <a:ext uri="{FF2B5EF4-FFF2-40B4-BE49-F238E27FC236}">
                <a16:creationId xmlns:a16="http://schemas.microsoft.com/office/drawing/2014/main" id="{4B22FF1C-A4DF-490C-9326-F47D930B7EB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87325" y="1633538"/>
            <a:ext cx="1379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BB2DD95-4AD1-4A4C-BF09-D4D538D824DF}" type="datetime'B''an''q''u''e'' ''''''''''''M''o''ndia''''''''le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Banque Mondiale</a:t>
            </a:fld>
            <a:endParaRPr lang="en-US" sz="1400" dirty="0">
              <a:cs typeface="+mn-cs"/>
            </a:endParaRPr>
          </a:p>
        </p:txBody>
      </p:sp>
      <p:sp>
        <p:nvSpPr>
          <p:cNvPr id="272" name="Text Placeholder 13">
            <a:extLst>
              <a:ext uri="{FF2B5EF4-FFF2-40B4-BE49-F238E27FC236}">
                <a16:creationId xmlns:a16="http://schemas.microsoft.com/office/drawing/2014/main" id="{B20B5C2B-7380-40B6-A461-EFBA01E8BF8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22350" y="2624138"/>
            <a:ext cx="544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BF263B-F191-4FBA-92C6-93D8D4068720}" type="datetime'''''U''''S''''''''''''''''''''''''''''''''A''''''''''''I''D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SAID</a:t>
            </a:fld>
            <a:endParaRPr lang="en-US" sz="1400" dirty="0">
              <a:cs typeface="+mn-cs"/>
            </a:endParaRPr>
          </a:p>
        </p:txBody>
      </p:sp>
      <p:sp>
        <p:nvSpPr>
          <p:cNvPr id="172" name="Text Placeholder 13">
            <a:extLst>
              <a:ext uri="{FF2B5EF4-FFF2-40B4-BE49-F238E27FC236}">
                <a16:creationId xmlns:a16="http://schemas.microsoft.com/office/drawing/2014/main" id="{26A6CA4B-ED16-40C0-BF6B-7CD40D96E1A0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04813" y="3214688"/>
            <a:ext cx="1162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739D28-E84A-4F95-B79C-F9EA21C3E2F4}" type="datetime'''''F''''''''''''o''''nd''s M''o''''''''''n''''di''a''''''''l'">
              <a:rPr lang="en-US" altLang="en-US" sz="1400" smtClean="0"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Fonds Mondial</a:t>
            </a:fld>
            <a:endParaRPr lang="en-US" sz="1400" dirty="0">
              <a:cs typeface="+mn-cs"/>
            </a:endParaRPr>
          </a:p>
        </p:txBody>
      </p:sp>
      <p:sp>
        <p:nvSpPr>
          <p:cNvPr id="274" name="Text Placeholder 13">
            <a:extLst>
              <a:ext uri="{FF2B5EF4-FFF2-40B4-BE49-F238E27FC236}">
                <a16:creationId xmlns:a16="http://schemas.microsoft.com/office/drawing/2014/main" id="{0A979EA0-F3BA-46EB-94E4-0DA2098C7919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154113" y="3478213"/>
            <a:ext cx="412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059066D-748A-412E-BEB3-03826DB5423B}" type="datetime'G''''''''''''''''''''''''''''''AVI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GAVI</a:t>
            </a:fld>
            <a:endParaRPr lang="en-US" sz="1400" dirty="0">
              <a:cs typeface="+mn-cs"/>
            </a:endParaRPr>
          </a:p>
        </p:txBody>
      </p:sp>
      <p:sp>
        <p:nvSpPr>
          <p:cNvPr id="275" name="Text Placeholder 13">
            <a:extLst>
              <a:ext uri="{FF2B5EF4-FFF2-40B4-BE49-F238E27FC236}">
                <a16:creationId xmlns:a16="http://schemas.microsoft.com/office/drawing/2014/main" id="{4D2236D8-5D63-446F-870A-E79E793EF89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211263" y="3741738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66F575-8ABD-41F3-A4D3-EEB9C52B7002}" type="datetime'''''''''''''''''''''''''''''''A''''''''''FD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FD</a:t>
            </a:fld>
            <a:endParaRPr lang="en-US" sz="1400" dirty="0">
              <a:cs typeface="+mn-cs"/>
            </a:endParaRPr>
          </a:p>
        </p:txBody>
      </p:sp>
      <p:sp>
        <p:nvSpPr>
          <p:cNvPr id="279" name="Text Placeholder 13">
            <a:extLst>
              <a:ext uri="{FF2B5EF4-FFF2-40B4-BE49-F238E27FC236}">
                <a16:creationId xmlns:a16="http://schemas.microsoft.com/office/drawing/2014/main" id="{55E669E4-4745-44CF-BA26-CF05FF3CF6E0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65200" y="4795838"/>
            <a:ext cx="601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64134DB-7CE7-41C5-B80D-43D54F71857B}" type="datetime'L''''u''''''''''''''''''''''''''xD''''''''''e''v'''''''''''">
              <a:rPr lang="en-US" altLang="en-US" sz="1400" smtClean="0"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LuxDev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13">
            <a:extLst>
              <a:ext uri="{FF2B5EF4-FFF2-40B4-BE49-F238E27FC236}">
                <a16:creationId xmlns:a16="http://schemas.microsoft.com/office/drawing/2014/main" id="{850B2F7E-C898-4463-AAA7-96D6247B75E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46150" y="4005263"/>
            <a:ext cx="620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799484-756A-4FB4-B2BF-FACFA3580805}" type="datetime'C''''a''''''''n''''''''''''''''''''''''''ad''''''''''a'">
              <a:rPr lang="en-US" altLang="en-US" sz="1400" smtClean="0"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Canada</a:t>
            </a:fld>
            <a:endParaRPr lang="en-US" sz="1400" dirty="0">
              <a:cs typeface="+mn-cs"/>
            </a:endParaRPr>
          </a:p>
        </p:txBody>
      </p:sp>
      <p:sp>
        <p:nvSpPr>
          <p:cNvPr id="280" name="Text Placeholder 13">
            <a:extLst>
              <a:ext uri="{FF2B5EF4-FFF2-40B4-BE49-F238E27FC236}">
                <a16:creationId xmlns:a16="http://schemas.microsoft.com/office/drawing/2014/main" id="{D79788A6-0678-4298-9ECA-661CF0D3BAC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68363" y="5059363"/>
            <a:ext cx="6985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41AE2CF-4DCC-496F-B55D-1CFD4E0E3BE8}" type="datetime'''''''''''''''''''''''''''''U''N''IT''''A''ID'''''">
              <a:rPr lang="en-US" altLang="en-US" sz="1400" smtClean="0"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UNITAID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501" name="Chart 500">
            <a:extLst>
              <a:ext uri="{FF2B5EF4-FFF2-40B4-BE49-F238E27FC236}">
                <a16:creationId xmlns:a16="http://schemas.microsoft.com/office/drawing/2014/main" id="{B2013212-88D8-4375-BE0A-F6364DD7FA7D}"/>
              </a:ext>
            </a:extLst>
          </p:cNvPr>
          <p:cNvGraphicFramePr/>
          <p:nvPr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683366389"/>
              </p:ext>
            </p:extLst>
          </p:nvPr>
        </p:nvGraphicFramePr>
        <p:xfrm>
          <a:off x="2989263" y="1152525"/>
          <a:ext cx="2516187" cy="4227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ECED40A3-C05A-4505-B548-BA4B2026E66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803650" y="5164138"/>
            <a:ext cx="307975" cy="212725"/>
          </a:xfrm>
          <a:prstGeom prst="rect">
            <a:avLst/>
          </a:prstGeom>
          <a:solidFill>
            <a:srgbClr val="D0B3D7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DC84BA-584F-4EA2-80C5-0F8DACC0F42C}" type="datetime'1''''''''%'''''''">
              <a:rPr lang="en-US" altLang="en-US" sz="1400" smtClean="0">
                <a:effectLst/>
                <a:cs typeface="+mn-cs"/>
              </a:rPr>
              <a:pPr/>
              <a:t>1%</a:t>
            </a:fld>
            <a:endParaRPr lang="en-US" sz="1400" dirty="0">
              <a:cs typeface="+mn-cs"/>
            </a:endParaRP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0D1B628E-271D-45E7-8CF6-D92F34EBC43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043363" y="5435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CEDA18-70F6-4BCA-9ADA-10A679A39578}" type="datetime'''''''''''''''''2''''''0''''2''''''''0'''''''">
              <a:rPr lang="en-US" altLang="en-US" sz="1400" smtClean="0">
                <a:cs typeface="+mn-cs"/>
              </a:rPr>
              <a:pPr/>
              <a:t>2020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502" name="Chart 501">
            <a:extLst>
              <a:ext uri="{FF2B5EF4-FFF2-40B4-BE49-F238E27FC236}">
                <a16:creationId xmlns:a16="http://schemas.microsoft.com/office/drawing/2014/main" id="{9724831F-0A4B-4D81-B243-3E447C6F523C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365781464"/>
              </p:ext>
            </p:extLst>
          </p:nvPr>
        </p:nvGraphicFramePr>
        <p:xfrm>
          <a:off x="4921250" y="1152525"/>
          <a:ext cx="2516188" cy="4227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11D041A4-C3DF-4CC3-949F-398D26DCFF5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H="1">
            <a:off x="6681788" y="5165725"/>
            <a:ext cx="98425" cy="107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3" name="Text Placeholder 13">
            <a:extLst>
              <a:ext uri="{FF2B5EF4-FFF2-40B4-BE49-F238E27FC236}">
                <a16:creationId xmlns:a16="http://schemas.microsoft.com/office/drawing/2014/main" id="{9A65082C-EE4D-4DAF-AB25-10A3534DB5A0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5975350" y="53879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E687D91-5B92-4E24-A523-9C1BCBB26617}" type="datetime'''''''2''''''''''0''2''''''''''''''''''''''1'''''''''''''''''">
              <a:rPr lang="en-US" altLang="en-US" sz="1400" smtClean="0">
                <a:cs typeface="+mn-cs"/>
              </a:rPr>
              <a:pPr/>
              <a:t>2021</a:t>
            </a:fld>
            <a:endParaRPr lang="en-US" sz="1400" dirty="0">
              <a:cs typeface="+mn-cs"/>
            </a:endParaRPr>
          </a:p>
        </p:txBody>
      </p:sp>
      <p:sp>
        <p:nvSpPr>
          <p:cNvPr id="316" name="Text Placeholder 13">
            <a:extLst>
              <a:ext uri="{FF2B5EF4-FFF2-40B4-BE49-F238E27FC236}">
                <a16:creationId xmlns:a16="http://schemas.microsoft.com/office/drawing/2014/main" id="{B05DCC1F-B992-4E69-BE58-F31007D8A381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735638" y="5116513"/>
            <a:ext cx="307975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7C8C5-EE5A-4A90-A6A4-100CCDBC0DEC}" type="datetime'''''''''''''''1''''%''''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51" name="Text Placeholder 13">
            <a:extLst>
              <a:ext uri="{FF2B5EF4-FFF2-40B4-BE49-F238E27FC236}">
                <a16:creationId xmlns:a16="http://schemas.microsoft.com/office/drawing/2014/main" id="{FC017EE9-092A-427B-8BFF-EE5C329EF43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735638" y="4899025"/>
            <a:ext cx="307975" cy="21272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515F57-6151-4DD3-89FD-342BF7FBE406}" type="datetime'3%''''''''''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14" name="Text Placeholder 13">
            <a:extLst>
              <a:ext uri="{FF2B5EF4-FFF2-40B4-BE49-F238E27FC236}">
                <a16:creationId xmlns:a16="http://schemas.microsoft.com/office/drawing/2014/main" id="{EA7988F4-AD6C-4CCE-93DD-2C73B80782FA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315075" y="5029200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C372A7-2999-48C1-A3C4-8F6BDA616DF0}" type="datetime'''3''''''''''''''''''''''''''''''''''''''''%'''''''">
              <a:rPr lang="en-US" altLang="en-US" sz="1400" smtClean="0">
                <a:effectLst/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68" name="Title 2">
            <a:extLst>
              <a:ext uri="{FF2B5EF4-FFF2-40B4-BE49-F238E27FC236}">
                <a16:creationId xmlns:a16="http://schemas.microsoft.com/office/drawing/2014/main" id="{8CDD33E6-211D-42F1-B604-ED4CB34C2E5C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es PTF du PNDSS par année (hors COVID19) (2019-2023)</a:t>
            </a:r>
          </a:p>
        </p:txBody>
      </p:sp>
      <p:graphicFrame>
        <p:nvGraphicFramePr>
          <p:cNvPr id="503" name="Chart 502">
            <a:extLst>
              <a:ext uri="{FF2B5EF4-FFF2-40B4-BE49-F238E27FC236}">
                <a16:creationId xmlns:a16="http://schemas.microsoft.com/office/drawing/2014/main" id="{FF6511EC-8A27-4EBC-98A9-B8AB6CBD03A3}"/>
              </a:ext>
            </a:extLst>
          </p:cNvPr>
          <p:cNvGraphicFramePr/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467252509"/>
              </p:ext>
            </p:extLst>
          </p:nvPr>
        </p:nvGraphicFramePr>
        <p:xfrm>
          <a:off x="6926263" y="1152525"/>
          <a:ext cx="2516187" cy="4227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cxnSp>
        <p:nvCxnSpPr>
          <p:cNvPr id="355" name="Straight Connector 354">
            <a:extLst>
              <a:ext uri="{FF2B5EF4-FFF2-40B4-BE49-F238E27FC236}">
                <a16:creationId xmlns:a16="http://schemas.microsoft.com/office/drawing/2014/main" id="{3AE705BF-5D0C-4DA7-BF55-04B74107284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 flipH="1">
            <a:off x="8686800" y="5165725"/>
            <a:ext cx="98425" cy="873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6" name="Text Placeholder 13">
            <a:extLst>
              <a:ext uri="{FF2B5EF4-FFF2-40B4-BE49-F238E27FC236}">
                <a16:creationId xmlns:a16="http://schemas.microsoft.com/office/drawing/2014/main" id="{3F1E25F8-10B6-4133-B9AE-29D82EA6514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980363" y="53562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0BCBBE-10E9-43A5-9C2D-6B1937CBB9A5}" type="datetime'''''''''''''''''2''''0''''''''''2''''''''''''''2'''''''''">
              <a:rPr lang="en-US" altLang="en-US" sz="1400" smtClean="0">
                <a:cs typeface="+mn-cs"/>
              </a:rPr>
              <a:pPr/>
              <a:t>2022</a:t>
            </a:fld>
            <a:endParaRPr lang="en-US" sz="1400" dirty="0">
              <a:cs typeface="+mn-cs"/>
            </a:endParaRPr>
          </a:p>
        </p:txBody>
      </p:sp>
      <p:sp>
        <p:nvSpPr>
          <p:cNvPr id="105" name="Text Placeholder 13">
            <a:extLst>
              <a:ext uri="{FF2B5EF4-FFF2-40B4-BE49-F238E27FC236}">
                <a16:creationId xmlns:a16="http://schemas.microsoft.com/office/drawing/2014/main" id="{EB37958E-8301-4859-86FA-610C9517C3D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8320088" y="4948238"/>
            <a:ext cx="307975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9B941F-C11B-4392-8921-B55C29A7DB1E}" type="datetime'''''''''3''''''''''''''''''''''''''%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4" name="Text Placeholder 13">
            <a:extLst>
              <a:ext uri="{FF2B5EF4-FFF2-40B4-BE49-F238E27FC236}">
                <a16:creationId xmlns:a16="http://schemas.microsoft.com/office/drawing/2014/main" id="{52B3BD87-270C-4FFA-A265-136EE1C1C3C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740650" y="5057775"/>
            <a:ext cx="307975" cy="212725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117FE7-9DC0-4066-9160-86C31C81FF90}" type="datetime'''''''''''''''''''''2''''''''''''''''''''''''''''''%'''''''''">
              <a:rPr lang="en-US" altLang="en-US" sz="1400" smtClean="0">
                <a:effectLst/>
                <a:cs typeface="+mn-cs"/>
              </a:rPr>
              <a:pPr/>
              <a:t>2%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523" name="Chart 522">
            <a:extLst>
              <a:ext uri="{FF2B5EF4-FFF2-40B4-BE49-F238E27FC236}">
                <a16:creationId xmlns:a16="http://schemas.microsoft.com/office/drawing/2014/main" id="{E469A7F0-7CAB-48B9-B724-668F9807963F}"/>
              </a:ext>
            </a:extLst>
          </p:cNvPr>
          <p:cNvGraphicFramePr/>
          <p:nvPr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465368285"/>
              </p:ext>
            </p:extLst>
          </p:nvPr>
        </p:nvGraphicFramePr>
        <p:xfrm>
          <a:off x="8734425" y="1152525"/>
          <a:ext cx="2516188" cy="42275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1"/>
          </a:graphicData>
        </a:graphic>
      </p:graphicFrame>
      <p:cxnSp>
        <p:nvCxnSpPr>
          <p:cNvPr id="516" name="Straight Connector 515">
            <a:extLst>
              <a:ext uri="{FF2B5EF4-FFF2-40B4-BE49-F238E27FC236}">
                <a16:creationId xmlns:a16="http://schemas.microsoft.com/office/drawing/2014/main" id="{619F9BF5-E45D-4593-B403-B57027C8ACDD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auto">
          <a:xfrm flipH="1">
            <a:off x="10609263" y="3848100"/>
            <a:ext cx="79375" cy="8699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8348B94-F55E-4EC0-B399-EB3A12CDB3EE}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 bwMode="auto">
          <a:xfrm>
            <a:off x="9390063" y="5165725"/>
            <a:ext cx="98425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4" name="Straight Connector 513">
            <a:extLst>
              <a:ext uri="{FF2B5EF4-FFF2-40B4-BE49-F238E27FC236}">
                <a16:creationId xmlns:a16="http://schemas.microsoft.com/office/drawing/2014/main" id="{E2947D51-B15F-49CE-92D8-DBF41CC1C338}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 bwMode="auto">
          <a:xfrm flipH="1">
            <a:off x="10609263" y="3321050"/>
            <a:ext cx="79375" cy="5715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5" name="Straight Connector 514">
            <a:extLst>
              <a:ext uri="{FF2B5EF4-FFF2-40B4-BE49-F238E27FC236}">
                <a16:creationId xmlns:a16="http://schemas.microsoft.com/office/drawing/2014/main" id="{D8F362A8-7388-42A8-9A95-417E8CCA9839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auto">
          <a:xfrm flipH="1">
            <a:off x="10609263" y="3584576"/>
            <a:ext cx="79375" cy="7604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7" name="Straight Connector 516">
            <a:extLst>
              <a:ext uri="{FF2B5EF4-FFF2-40B4-BE49-F238E27FC236}">
                <a16:creationId xmlns:a16="http://schemas.microsoft.com/office/drawing/2014/main" id="{A8B7A8B4-BF7E-4677-B9EA-594D9EAF5E22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auto">
          <a:xfrm flipH="1">
            <a:off x="10609263" y="4111625"/>
            <a:ext cx="79375" cy="8651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8" name="Straight Connector 517">
            <a:extLst>
              <a:ext uri="{FF2B5EF4-FFF2-40B4-BE49-F238E27FC236}">
                <a16:creationId xmlns:a16="http://schemas.microsoft.com/office/drawing/2014/main" id="{BC642EB9-EBC4-49B9-B786-779D40CAA784}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 bwMode="auto">
          <a:xfrm flipH="1">
            <a:off x="10609263" y="4375151"/>
            <a:ext cx="79375" cy="728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9" name="Straight Connector 518">
            <a:extLst>
              <a:ext uri="{FF2B5EF4-FFF2-40B4-BE49-F238E27FC236}">
                <a16:creationId xmlns:a16="http://schemas.microsoft.com/office/drawing/2014/main" id="{A50397C7-D2AB-4ECE-A8C2-C6A691CB1BB7}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 bwMode="auto">
          <a:xfrm flipH="1">
            <a:off x="10609263" y="4638675"/>
            <a:ext cx="79375" cy="5461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0" name="Straight Connector 519">
            <a:extLst>
              <a:ext uri="{FF2B5EF4-FFF2-40B4-BE49-F238E27FC236}">
                <a16:creationId xmlns:a16="http://schemas.microsoft.com/office/drawing/2014/main" id="{5C80A980-006E-4E9F-9A61-D8CA4417A209}"/>
              </a:ext>
            </a:extLst>
          </p:cNvPr>
          <p:cNvCxnSpPr>
            <a:cxnSpLocks/>
          </p:cNvCxnSpPr>
          <p:nvPr>
            <p:custDataLst>
              <p:tags r:id="rId46"/>
            </p:custDataLst>
          </p:nvPr>
        </p:nvCxnSpPr>
        <p:spPr bwMode="auto">
          <a:xfrm flipH="1">
            <a:off x="10609263" y="4902200"/>
            <a:ext cx="79375" cy="3333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1" name="Straight Connector 520">
            <a:extLst>
              <a:ext uri="{FF2B5EF4-FFF2-40B4-BE49-F238E27FC236}">
                <a16:creationId xmlns:a16="http://schemas.microsoft.com/office/drawing/2014/main" id="{A24915A0-2980-4960-9DCC-806D4B903C39}"/>
              </a:ext>
            </a:extLst>
          </p:cNvPr>
          <p:cNvCxnSpPr>
            <a:cxnSpLocks/>
          </p:cNvCxnSpPr>
          <p:nvPr>
            <p:custDataLst>
              <p:tags r:id="rId47"/>
            </p:custDataLst>
          </p:nvPr>
        </p:nvCxnSpPr>
        <p:spPr bwMode="auto">
          <a:xfrm flipH="1">
            <a:off x="10609263" y="5165725"/>
            <a:ext cx="79375" cy="1111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4" name="Text Placeholder 13">
            <a:extLst>
              <a:ext uri="{FF2B5EF4-FFF2-40B4-BE49-F238E27FC236}">
                <a16:creationId xmlns:a16="http://schemas.microsoft.com/office/drawing/2014/main" id="{ABD9EA42-AAA9-4E77-9FEC-C668A2825515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0128250" y="5078414"/>
            <a:ext cx="307975" cy="212725"/>
          </a:xfrm>
          <a:prstGeom prst="rect">
            <a:avLst/>
          </a:prstGeom>
          <a:solidFill>
            <a:srgbClr val="BF9000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CC54BC-F142-4856-863F-009DD10EF496}" type="datetime'''''''''1%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92" name="Text Placeholder 13">
            <a:extLst>
              <a:ext uri="{FF2B5EF4-FFF2-40B4-BE49-F238E27FC236}">
                <a16:creationId xmlns:a16="http://schemas.microsoft.com/office/drawing/2014/main" id="{34B6D801-B6E9-4523-87C6-8E524CEA5CC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128250" y="4870451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57B4CF-AD4F-4203-8713-7259F916BD9D}" type="datetime'''''''''''''''''4''''''''''''''''''''''''''''%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133" name="Text Placeholder 13">
            <a:extLst>
              <a:ext uri="{FF2B5EF4-FFF2-40B4-BE49-F238E27FC236}">
                <a16:creationId xmlns:a16="http://schemas.microsoft.com/office/drawing/2014/main" id="{791D8F23-73B3-4783-938A-7336809802CA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788525" y="54419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A2AB9B5-333B-4606-85C6-47B4BAF709B6}" type="datetime'''''''''2''''''''''''''''''''''''02''3'''''''''''''''''''''''">
              <a:rPr lang="en-US" altLang="en-US" sz="1400" smtClean="0">
                <a:cs typeface="+mn-cs"/>
              </a:rPr>
              <a:pPr/>
              <a:t>2023</a:t>
            </a:fld>
            <a:endParaRPr lang="en-US" sz="1400" dirty="0">
              <a:cs typeface="+mn-cs"/>
            </a:endParaRPr>
          </a:p>
        </p:txBody>
      </p:sp>
      <p:sp>
        <p:nvSpPr>
          <p:cNvPr id="320" name="Text Placeholder 13">
            <a:extLst>
              <a:ext uri="{FF2B5EF4-FFF2-40B4-BE49-F238E27FC236}">
                <a16:creationId xmlns:a16="http://schemas.microsoft.com/office/drawing/2014/main" id="{74224D06-673E-4D81-9538-F1031CD83E6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9548813" y="5170488"/>
            <a:ext cx="307975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D2280F-CCC2-4D34-984E-E63974180454}" type="datetime'''''''1''''''''''''%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42" name="Text Placeholder 13">
            <a:extLst>
              <a:ext uri="{FF2B5EF4-FFF2-40B4-BE49-F238E27FC236}">
                <a16:creationId xmlns:a16="http://schemas.microsoft.com/office/drawing/2014/main" id="{6FD80E46-890E-49BC-ABDC-F0C62015610A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9548813" y="4997450"/>
            <a:ext cx="307975" cy="212725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27215C-3AD3-446A-B9BD-2DBC55074FC7}" type="datetime'''''''''''''''''''''''''''''''''''''''''''''3''''''''''''%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98" name="Text Placeholder 13">
            <a:extLst>
              <a:ext uri="{FF2B5EF4-FFF2-40B4-BE49-F238E27FC236}">
                <a16:creationId xmlns:a16="http://schemas.microsoft.com/office/drawing/2014/main" id="{09A96A71-980F-48B4-BCDB-163FE24759DD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714038" y="4795838"/>
            <a:ext cx="512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B71CC66-FE2B-49EC-9D5A-53653121CA48}" type="datetime'''''''''''''''''B''''''M''''''''''''''''''G''F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MGF</a:t>
            </a:fld>
            <a:endParaRPr lang="en-US" sz="1400" dirty="0">
              <a:cs typeface="+mn-cs"/>
            </a:endParaRPr>
          </a:p>
        </p:txBody>
      </p:sp>
      <p:sp>
        <p:nvSpPr>
          <p:cNvPr id="290" name="Text Placeholder 13">
            <a:extLst>
              <a:ext uri="{FF2B5EF4-FFF2-40B4-BE49-F238E27FC236}">
                <a16:creationId xmlns:a16="http://schemas.microsoft.com/office/drawing/2014/main" id="{E8685629-9EB5-4545-8BE2-C562682FD4C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714038" y="1922463"/>
            <a:ext cx="1379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9E3E09-F238-4C4D-8F36-AE6C2B772FD8}" type="datetime'''''B''''anque ''''Mon''''''di''''''''''''''''''''al''''''''e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Banque Mondiale</a:t>
            </a:fld>
            <a:endParaRPr lang="en-US" sz="1400" dirty="0">
              <a:cs typeface="+mn-cs"/>
            </a:endParaRPr>
          </a:p>
        </p:txBody>
      </p:sp>
      <p:sp>
        <p:nvSpPr>
          <p:cNvPr id="291" name="Text Placeholder 13">
            <a:extLst>
              <a:ext uri="{FF2B5EF4-FFF2-40B4-BE49-F238E27FC236}">
                <a16:creationId xmlns:a16="http://schemas.microsoft.com/office/drawing/2014/main" id="{19F89803-3B95-4E29-AF20-14389E348BC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714038" y="2951163"/>
            <a:ext cx="11620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D93229-8C3C-4FFA-BADE-E7AFB81FE229}" type="datetime'''''''F''o''''''''n''''d''''s Mo''''n''d''''''''i''''a''''l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Fonds Mondial</a:t>
            </a:fld>
            <a:endParaRPr lang="en-US" sz="1400" dirty="0">
              <a:cs typeface="+mn-cs"/>
            </a:endParaRPr>
          </a:p>
        </p:txBody>
      </p:sp>
      <p:sp>
        <p:nvSpPr>
          <p:cNvPr id="296" name="Text Placeholder 13">
            <a:extLst>
              <a:ext uri="{FF2B5EF4-FFF2-40B4-BE49-F238E27FC236}">
                <a16:creationId xmlns:a16="http://schemas.microsoft.com/office/drawing/2014/main" id="{5E3E9618-E9EB-47D8-90E9-5B7E1472D7BD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0714038" y="4268788"/>
            <a:ext cx="5524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62DCEBF-FA2E-46D8-8AFE-6C4A8E18B1BE}" type="datetime'''''''''E''''''''''''n''''''''''a''b''''''''e''''''''l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nabel</a:t>
            </a:fld>
            <a:endParaRPr lang="en-US" sz="1400" dirty="0">
              <a:cs typeface="+mn-cs"/>
            </a:endParaRPr>
          </a:p>
        </p:txBody>
      </p:sp>
      <p:sp>
        <p:nvSpPr>
          <p:cNvPr id="292" name="Text Placeholder 13">
            <a:extLst>
              <a:ext uri="{FF2B5EF4-FFF2-40B4-BE49-F238E27FC236}">
                <a16:creationId xmlns:a16="http://schemas.microsoft.com/office/drawing/2014/main" id="{8658651C-3011-40C4-A58A-0F88A0A031D2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714038" y="3214688"/>
            <a:ext cx="5445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A3B479B-F00A-468C-9E73-AE2410939904}" type="datetime'''U''''''''S''''A''''''''''''''''''''''I''''''''''''''D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SAID</a:t>
            </a:fld>
            <a:endParaRPr lang="en-US" sz="1400" dirty="0">
              <a:cs typeface="+mn-cs"/>
            </a:endParaRPr>
          </a:p>
        </p:txBody>
      </p:sp>
      <p:sp>
        <p:nvSpPr>
          <p:cNvPr id="295" name="Text Placeholder 13">
            <a:extLst>
              <a:ext uri="{FF2B5EF4-FFF2-40B4-BE49-F238E27FC236}">
                <a16:creationId xmlns:a16="http://schemas.microsoft.com/office/drawing/2014/main" id="{C3130B7B-0583-49A2-A7AE-BD52B3F21D5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0714038" y="4005263"/>
            <a:ext cx="590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4E105F6-F785-4BA4-89C7-E75861764544}" type="datetime'''''''''''UN''''''''''''''''''''F''''''''''''P''''A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NFPA</a:t>
            </a:fld>
            <a:endParaRPr lang="en-US" sz="1400" dirty="0">
              <a:cs typeface="+mn-cs"/>
            </a:endParaRPr>
          </a:p>
        </p:txBody>
      </p:sp>
      <p:sp>
        <p:nvSpPr>
          <p:cNvPr id="293" name="Text Placeholder 13">
            <a:extLst>
              <a:ext uri="{FF2B5EF4-FFF2-40B4-BE49-F238E27FC236}">
                <a16:creationId xmlns:a16="http://schemas.microsoft.com/office/drawing/2014/main" id="{43AC7736-F06E-4842-A6EA-9870E343B4C9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714038" y="3478213"/>
            <a:ext cx="4127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8A9848-BBC5-42BC-9640-F982E9B4536A}" type="datetime'''''''''''''''''''''''''''''''''''''''''''''GA''''''V''I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AVI</a:t>
            </a:fld>
            <a:endParaRPr lang="en-US" sz="1400" dirty="0">
              <a:cs typeface="+mn-cs"/>
            </a:endParaRPr>
          </a:p>
        </p:txBody>
      </p:sp>
      <p:sp>
        <p:nvSpPr>
          <p:cNvPr id="294" name="Text Placeholder 13">
            <a:extLst>
              <a:ext uri="{FF2B5EF4-FFF2-40B4-BE49-F238E27FC236}">
                <a16:creationId xmlns:a16="http://schemas.microsoft.com/office/drawing/2014/main" id="{CAD01AFB-84F4-491B-91E1-EE71606F299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10714038" y="3741738"/>
            <a:ext cx="2968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3274898-D651-4AAF-9A95-A54D37DB5A23}" type="datetime'''''''''''''''''''''''''I''''''''''D''''''''''''''B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IDB</a:t>
            </a:fld>
            <a:endParaRPr lang="en-US" sz="1400" dirty="0">
              <a:cs typeface="+mn-cs"/>
            </a:endParaRPr>
          </a:p>
        </p:txBody>
      </p:sp>
      <p:sp>
        <p:nvSpPr>
          <p:cNvPr id="297" name="Text Placeholder 13">
            <a:extLst>
              <a:ext uri="{FF2B5EF4-FFF2-40B4-BE49-F238E27FC236}">
                <a16:creationId xmlns:a16="http://schemas.microsoft.com/office/drawing/2014/main" id="{9CD4B94C-F930-4824-B5DB-92C76BCC7C2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714038" y="4532313"/>
            <a:ext cx="3857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06E8EBB-3B0B-412B-8E81-8C2CB507100F}" type="datetime'''''''''''''''''''''''''''''''''''''''J''''''IC''''A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JICA</a:t>
            </a:fld>
            <a:endParaRPr lang="en-US" sz="1400" dirty="0">
              <a:cs typeface="+mn-cs"/>
            </a:endParaRPr>
          </a:p>
        </p:txBody>
      </p:sp>
      <p:sp>
        <p:nvSpPr>
          <p:cNvPr id="299" name="Text Placeholder 13">
            <a:extLst>
              <a:ext uri="{FF2B5EF4-FFF2-40B4-BE49-F238E27FC236}">
                <a16:creationId xmlns:a16="http://schemas.microsoft.com/office/drawing/2014/main" id="{A0E36F82-77ED-419D-9C16-4D755FB1234C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0714038" y="5059363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38D5B38-EAC9-46C9-A6A8-30C046A17948}" type="datetime'''''''A''''''''''''''''''''F''''''''''D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AFD</a:t>
            </a:fld>
            <a:endParaRPr lang="en-US" sz="1400" dirty="0">
              <a:cs typeface="+mn-cs"/>
            </a:endParaRP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id="{3BE28794-5E94-49A5-8BA8-BB8CBFA2273F}"/>
              </a:ext>
            </a:extLst>
          </p:cNvPr>
          <p:cNvSpPr txBox="1"/>
          <p:nvPr/>
        </p:nvSpPr>
        <p:spPr>
          <a:xfrm>
            <a:off x="1052018" y="5839508"/>
            <a:ext cx="9636620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Hors COVID19, </a:t>
            </a:r>
            <a:r>
              <a:rPr lang="fr-FR" b="1" dirty="0"/>
              <a:t>les trois principaux bailleurs de fonds restent les mêm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944339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4DAC111-C09F-4321-A645-2A36FFC840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2130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Title 2">
            <a:extLst>
              <a:ext uri="{FF2B5EF4-FFF2-40B4-BE49-F238E27FC236}">
                <a16:creationId xmlns:a16="http://schemas.microsoft.com/office/drawing/2014/main" id="{50BD6959-7A52-4774-9718-7964FF42E316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es PTF par partenaire</a:t>
            </a:r>
            <a:r>
              <a:rPr lang="fr-FR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’implémentation  </a:t>
            </a: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2019-2023)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2A578A35-AA2F-4C43-9467-136FCFED3C2F}"/>
              </a:ext>
            </a:extLst>
          </p:cNvPr>
          <p:cNvSpPr txBox="1">
            <a:spLocks noChangeAspect="1"/>
          </p:cNvSpPr>
          <p:nvPr/>
        </p:nvSpPr>
        <p:spPr>
          <a:xfrm>
            <a:off x="8450838" y="1741743"/>
            <a:ext cx="3461099" cy="355910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274320" rtlCol="0" anchor="ctr" anchorCtr="0">
            <a:noAutofit/>
          </a:bodyPr>
          <a:lstStyle/>
          <a:p>
            <a:pPr marL="285750" indent="-285750" algn="justLow">
              <a:buFont typeface="Arial" panose="020B0604020202020204" pitchFamily="34" charset="0"/>
              <a:buChar char="•"/>
            </a:pPr>
            <a:r>
              <a:rPr lang="fr-FR" dirty="0"/>
              <a:t>Les </a:t>
            </a:r>
            <a:r>
              <a:rPr lang="fr-FR" b="1" dirty="0"/>
              <a:t>entités publiques </a:t>
            </a:r>
            <a:r>
              <a:rPr lang="fr-FR" dirty="0"/>
              <a:t>identifiées comme partenaires d’implémentation pour </a:t>
            </a:r>
            <a:r>
              <a:rPr lang="fr-FR" b="1" dirty="0"/>
              <a:t>65% des ressources des PTF</a:t>
            </a:r>
          </a:p>
          <a:p>
            <a:pPr marL="285750" indent="-285750" algn="justLow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 algn="justLow">
              <a:buFont typeface="Arial" panose="020B0604020202020204" pitchFamily="34" charset="0"/>
              <a:buChar char="•"/>
            </a:pPr>
            <a:r>
              <a:rPr lang="fr-FR" dirty="0"/>
              <a:t>Les </a:t>
            </a:r>
            <a:r>
              <a:rPr lang="fr-FR" b="1" dirty="0"/>
              <a:t>UN</a:t>
            </a:r>
            <a:r>
              <a:rPr lang="fr-FR" dirty="0"/>
              <a:t>, </a:t>
            </a:r>
            <a:r>
              <a:rPr lang="fr-FR" b="1" dirty="0"/>
              <a:t>ONG et les organisations de la société civile </a:t>
            </a:r>
            <a:r>
              <a:rPr lang="fr-FR" dirty="0"/>
              <a:t>implémentent les </a:t>
            </a:r>
            <a:r>
              <a:rPr lang="fr-FR" b="1" dirty="0"/>
              <a:t>35%</a:t>
            </a:r>
            <a:r>
              <a:rPr lang="fr-FR" dirty="0"/>
              <a:t> restants des ressources des PTF.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150F0D3-0945-4CCE-AD86-04B813B6A14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5668" y="1741743"/>
            <a:ext cx="8053514" cy="5060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0969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de la présent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C0131B-FE0C-44B6-BF0E-51179E86B25C}"/>
              </a:ext>
            </a:extLst>
          </p:cNvPr>
          <p:cNvSpPr txBox="1"/>
          <p:nvPr/>
        </p:nvSpPr>
        <p:spPr>
          <a:xfrm>
            <a:off x="850076" y="1133369"/>
            <a:ext cx="514114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algn="just">
              <a:spcBef>
                <a:spcPts val="1200"/>
              </a:spcBef>
              <a:buAutoNum type="arabicParenR"/>
            </a:pPr>
            <a:r>
              <a:rPr lang="fr-FR" sz="2000" dirty="0"/>
              <a:t>Introduction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Objectifs de la cartographie des ressource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Méthodologi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Produits de la cartographie des ressources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émonstration de l’outil dynamique de la visualisation des données</a:t>
            </a:r>
          </a:p>
          <a:p>
            <a:pPr marL="514350" indent="-514350">
              <a:spcBef>
                <a:spcPts val="1200"/>
              </a:spcBef>
              <a:buAutoNum type="arabicParenR"/>
            </a:pPr>
            <a:r>
              <a:rPr lang="fr-FR" sz="2000" dirty="0"/>
              <a:t>Résultats de la cartographie des ressources du PNDS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OS 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7EFFCB-270E-49AE-B3C6-4258B4FC3A13}"/>
              </a:ext>
            </a:extLst>
          </p:cNvPr>
          <p:cNvSpPr txBox="1"/>
          <p:nvPr/>
        </p:nvSpPr>
        <p:spPr>
          <a:xfrm>
            <a:off x="6805613" y="1252455"/>
            <a:ext cx="5139985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ésultats de la cartographie des ressources du DI SRMNIA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iorité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ecommandations </a:t>
            </a:r>
            <a:endParaRPr lang="fr-FR" sz="16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21523D-6B93-48D3-9BF9-EC8E449E0DE5}"/>
              </a:ext>
            </a:extLst>
          </p:cNvPr>
          <p:cNvCxnSpPr>
            <a:cxnSpLocks/>
          </p:cNvCxnSpPr>
          <p:nvPr/>
        </p:nvCxnSpPr>
        <p:spPr>
          <a:xfrm>
            <a:off x="6178650" y="1133369"/>
            <a:ext cx="0" cy="5238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48E38CB-F232-4052-AFF6-635DB1CB8968}"/>
              </a:ext>
            </a:extLst>
          </p:cNvPr>
          <p:cNvSpPr/>
          <p:nvPr/>
        </p:nvSpPr>
        <p:spPr>
          <a:xfrm>
            <a:off x="246402" y="1156574"/>
            <a:ext cx="542925" cy="3906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70355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50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99" imgW="470" imgH="469" progId="TCLayout.ActiveDocument.1">
                  <p:embed/>
                </p:oleObj>
              </mc:Choice>
              <mc:Fallback>
                <p:oleObj name="think-cell Slide" r:id="rId99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 des gaps de financement du PNDSS par source de financement et par année (2019-2023)</a:t>
            </a:r>
          </a:p>
        </p:txBody>
      </p:sp>
      <p:graphicFrame>
        <p:nvGraphicFramePr>
          <p:cNvPr id="188" name="Chart 187">
            <a:extLst>
              <a:ext uri="{FF2B5EF4-FFF2-40B4-BE49-F238E27FC236}">
                <a16:creationId xmlns:a16="http://schemas.microsoft.com/office/drawing/2014/main" id="{43477CB2-F2DE-4FA5-80A3-3EF72774EF4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72605513"/>
              </p:ext>
            </p:extLst>
          </p:nvPr>
        </p:nvGraphicFramePr>
        <p:xfrm>
          <a:off x="5221288" y="2087563"/>
          <a:ext cx="6643687" cy="3417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177" name="Text Placeholder 13">
            <a:extLst>
              <a:ext uri="{FF2B5EF4-FFF2-40B4-BE49-F238E27FC236}">
                <a16:creationId xmlns:a16="http://schemas.microsoft.com/office/drawing/2014/main" id="{65C2177E-D2B6-49C8-A724-323317F9E5B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832350" y="206375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471914-2146-42DD-98B2-0E68BCE4C7F7}" type="datetime'''''''''''''''4''''''''''''''''''''''0''''0'''''''''">
              <a:rPr lang="en-US" altLang="en-US" sz="1400" smtClean="0">
                <a:cs typeface="+mn-cs"/>
              </a:rPr>
              <a:pPr/>
              <a:t>400</a:t>
            </a:fld>
            <a:endParaRPr lang="en-US" sz="1400" dirty="0">
              <a:cs typeface="+mn-cs"/>
            </a:endParaRPr>
          </a:p>
        </p:txBody>
      </p:sp>
      <p:sp>
        <p:nvSpPr>
          <p:cNvPr id="175" name="Text Placeholder 13">
            <a:extLst>
              <a:ext uri="{FF2B5EF4-FFF2-40B4-BE49-F238E27FC236}">
                <a16:creationId xmlns:a16="http://schemas.microsoft.com/office/drawing/2014/main" id="{AADA680C-0EC4-4E5F-97F8-C5E630C8CE8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4832350" y="369093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E14393-3333-4757-AC9F-49F1D4DF5F49}" type="datetime'''''''''''''''2''''''''''''00'''''''''''''''''''">
              <a:rPr lang="en-US" altLang="en-US" sz="1400" smtClean="0">
                <a:cs typeface="+mn-cs"/>
              </a:rPr>
              <a:pPr/>
              <a:t>200</a:t>
            </a:fld>
            <a:endParaRPr lang="en-US" sz="1400" dirty="0">
              <a:cs typeface="+mn-cs"/>
            </a:endParaRPr>
          </a:p>
        </p:txBody>
      </p:sp>
      <p:sp>
        <p:nvSpPr>
          <p:cNvPr id="173" name="Text Placeholder 13">
            <a:extLst>
              <a:ext uri="{FF2B5EF4-FFF2-40B4-BE49-F238E27FC236}">
                <a16:creationId xmlns:a16="http://schemas.microsoft.com/office/drawing/2014/main" id="{DBEF4504-DDFC-4E6E-B6BA-C3E19CC37B8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029200" y="53165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BE62ED-9FFF-4F18-882B-B6E10D2DED94}" type="datetime'''''''''''''''''''''0''''''''''''''''''''''''''''''''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270" name="Text Placeholder 13">
            <a:extLst>
              <a:ext uri="{FF2B5EF4-FFF2-40B4-BE49-F238E27FC236}">
                <a16:creationId xmlns:a16="http://schemas.microsoft.com/office/drawing/2014/main" id="{82376486-7C78-4685-8EA0-5C65757117B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930775" y="49101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6C0762-316A-4267-9381-E7CBDFA13785}" type="datetime'''''''''''''''''''''5''''''''''0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 dirty="0">
              <a:cs typeface="+mn-cs"/>
            </a:endParaRPr>
          </a:p>
        </p:txBody>
      </p:sp>
      <p:sp>
        <p:nvSpPr>
          <p:cNvPr id="272" name="Text Placeholder 13">
            <a:extLst>
              <a:ext uri="{FF2B5EF4-FFF2-40B4-BE49-F238E27FC236}">
                <a16:creationId xmlns:a16="http://schemas.microsoft.com/office/drawing/2014/main" id="{851CDA6E-4FB3-4C91-B091-14C5F86E1D2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832350" y="328295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680E810-6EDB-4236-8718-AD561E371F5F}" type="datetime'''''''''2''''''5''''''''''''''''''''''0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400" dirty="0">
              <a:cs typeface="+mn-cs"/>
            </a:endParaRPr>
          </a:p>
        </p:txBody>
      </p:sp>
      <p:sp>
        <p:nvSpPr>
          <p:cNvPr id="273" name="Text Placeholder 13">
            <a:extLst>
              <a:ext uri="{FF2B5EF4-FFF2-40B4-BE49-F238E27FC236}">
                <a16:creationId xmlns:a16="http://schemas.microsoft.com/office/drawing/2014/main" id="{3C092037-548E-455D-A4E4-B01B8DC9958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832350" y="247015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989189C-4A4F-4C2A-B4E5-338DD201A7B4}" type="datetime'''''''''3''''''5''''''''''''''''''''''''''''''0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0</a:t>
            </a:fld>
            <a:endParaRPr lang="en-US" sz="1400" dirty="0">
              <a:cs typeface="+mn-cs"/>
            </a:endParaRPr>
          </a:p>
        </p:txBody>
      </p:sp>
      <p:sp>
        <p:nvSpPr>
          <p:cNvPr id="174" name="Text Placeholder 13">
            <a:extLst>
              <a:ext uri="{FF2B5EF4-FFF2-40B4-BE49-F238E27FC236}">
                <a16:creationId xmlns:a16="http://schemas.microsoft.com/office/drawing/2014/main" id="{86CF8ABA-83E1-46EB-854E-390B1310CCB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832350" y="450373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AD453EB-D6C8-4CCA-9ECA-0B681955AA69}" type="datetime'''''''''''''''''1''''''00'''''''''''''">
              <a:rPr lang="en-US" altLang="en-US" sz="1400" smtClean="0">
                <a:cs typeface="+mn-cs"/>
              </a:rPr>
              <a:pPr/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271" name="Text Placeholder 13">
            <a:extLst>
              <a:ext uri="{FF2B5EF4-FFF2-40B4-BE49-F238E27FC236}">
                <a16:creationId xmlns:a16="http://schemas.microsoft.com/office/drawing/2014/main" id="{EF4514F8-BD49-4E28-A185-633971A7CE1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832350" y="409733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3C2B8A-E379-4A3C-8D56-560A334E8F80}" type="datetime'''''1''''''''''''''''''5''''''''''''''''''''''''''''''0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400" dirty="0">
              <a:cs typeface="+mn-cs"/>
            </a:endParaRPr>
          </a:p>
        </p:txBody>
      </p:sp>
      <p:sp>
        <p:nvSpPr>
          <p:cNvPr id="176" name="Text Placeholder 13">
            <a:extLst>
              <a:ext uri="{FF2B5EF4-FFF2-40B4-BE49-F238E27FC236}">
                <a16:creationId xmlns:a16="http://schemas.microsoft.com/office/drawing/2014/main" id="{32A11838-8AC2-4506-B03F-0D5E42C83C4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832350" y="287655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C4873B5-DF83-4B4B-AB49-9A1EB74BD877}" type="datetime'''''''''''''''''''''''''''''3''''''0''''''''0'''''''''''''">
              <a:rPr lang="en-US" altLang="en-US" sz="1400" smtClean="0">
                <a:cs typeface="+mn-cs"/>
              </a:rPr>
              <a:pPr/>
              <a:t>300</a:t>
            </a:fld>
            <a:endParaRPr lang="en-US" sz="1400" dirty="0">
              <a:cs typeface="+mn-cs"/>
            </a:endParaRPr>
          </a:p>
        </p:txBody>
      </p:sp>
      <p:cxnSp>
        <p:nvCxnSpPr>
          <p:cNvPr id="452" name="Straight Connector 451">
            <a:extLst>
              <a:ext uri="{FF2B5EF4-FFF2-40B4-BE49-F238E27FC236}">
                <a16:creationId xmlns:a16="http://schemas.microsoft.com/office/drawing/2014/main" id="{D11CCC36-3854-49B1-AC46-953F644E6582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272713" y="2798763"/>
            <a:ext cx="257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3" name="Straight Connector 452">
            <a:extLst>
              <a:ext uri="{FF2B5EF4-FFF2-40B4-BE49-F238E27FC236}">
                <a16:creationId xmlns:a16="http://schemas.microsoft.com/office/drawing/2014/main" id="{1DFADF96-D0C8-4DE4-BFC9-76149A2D2A5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487025" y="2300288"/>
            <a:ext cx="0" cy="5016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49BE7A02-5ED0-445B-AC25-86D05CF5A0A8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977313" y="2301875"/>
            <a:ext cx="257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0" name="Straight Connector 459">
            <a:extLst>
              <a:ext uri="{FF2B5EF4-FFF2-40B4-BE49-F238E27FC236}">
                <a16:creationId xmlns:a16="http://schemas.microsoft.com/office/drawing/2014/main" id="{D7CB454A-9A26-43D0-9B3A-4E446C64489B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11568113" y="2905125"/>
            <a:ext cx="257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0" name="Straight Connector 449">
            <a:extLst>
              <a:ext uri="{FF2B5EF4-FFF2-40B4-BE49-F238E27FC236}">
                <a16:creationId xmlns:a16="http://schemas.microsoft.com/office/drawing/2014/main" id="{253CBAE7-40B2-4402-B7CC-886F63240036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9839326" y="2303463"/>
            <a:ext cx="690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D5AAD10-535C-483A-BC87-C3687C762CE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6384925" y="3038475"/>
            <a:ext cx="257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2BCFBB9-A352-41E5-8D9F-86B07510AF99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9191625" y="2298700"/>
            <a:ext cx="0" cy="1905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9CDFF42-A794-4956-A7F9-F6BD58A3464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6599238" y="2967038"/>
            <a:ext cx="0" cy="74612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1" name="Straight Connector 460">
            <a:extLst>
              <a:ext uri="{FF2B5EF4-FFF2-40B4-BE49-F238E27FC236}">
                <a16:creationId xmlns:a16="http://schemas.microsoft.com/office/drawing/2014/main" id="{4667CE88-8A54-4132-AD63-54C097B31A6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11782425" y="2298700"/>
            <a:ext cx="0" cy="6096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13477E1-8C30-4742-8F76-39717DB144A1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11134725" y="2301875"/>
            <a:ext cx="690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3073622-079C-45D9-B993-03CA6D8309A1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5951538" y="2970213"/>
            <a:ext cx="6905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03CD8276-0943-462B-97FF-F6BC514433F5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8542338" y="2486025"/>
            <a:ext cx="6921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0643CC3-ACA4-4472-805D-860DE9CCC71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246939" y="2484438"/>
            <a:ext cx="6905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4B350C5-48E3-4982-9AA6-6574079ACF40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7680326" y="2578100"/>
            <a:ext cx="257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26E200F-D041-4629-897D-D5A61CF4F71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7894638" y="2481263"/>
            <a:ext cx="0" cy="100012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7BE827E-AB1B-48B1-A926-E6464284B4C0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1133138" y="1838326"/>
            <a:ext cx="1587" cy="373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2975245-E2A4-4E8A-BCBF-E65C008C2C2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949950" y="2506664"/>
            <a:ext cx="1588" cy="373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520E622-5FB6-47A8-AE5F-C3D73CDD4FE1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7245350" y="2020889"/>
            <a:ext cx="1588" cy="373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83746FB-9793-4551-919A-8327E8018E21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8540750" y="2022476"/>
            <a:ext cx="1588" cy="373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4CA81EA-8191-425B-8910-C9867AB83283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9837738" y="1839914"/>
            <a:ext cx="1587" cy="3730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8" name="Text Placeholder 13">
            <a:extLst>
              <a:ext uri="{FF2B5EF4-FFF2-40B4-BE49-F238E27FC236}">
                <a16:creationId xmlns:a16="http://schemas.microsoft.com/office/drawing/2014/main" id="{DA742DAF-D2AD-4C48-AD72-5A15ABFCC1CF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123113" y="1654175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3F01D24-1060-40F5-925C-0ECBFACAAFB3}" type="datetime'''3''''''''''''''''''''''''''61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61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09" name="Text Placeholder 13">
            <a:extLst>
              <a:ext uri="{FF2B5EF4-FFF2-40B4-BE49-F238E27FC236}">
                <a16:creationId xmlns:a16="http://schemas.microsoft.com/office/drawing/2014/main" id="{1AD11432-8CB8-4315-B690-000611F8A702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9715500" y="29972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50554-D0A4-40E8-8E9C-9E44BC4821C2}" type="datetime'''''''''''''''''''''''''4''''''''''''6'''''''''''">
              <a:rPr lang="en-US" altLang="en-US" sz="1400" smtClean="0">
                <a:cs typeface="+mn-cs"/>
              </a:rPr>
              <a:pPr/>
              <a:t>46</a:t>
            </a:fld>
            <a:endParaRPr lang="en-US" sz="1400" dirty="0">
              <a:cs typeface="+mn-cs"/>
            </a:endParaRPr>
          </a:p>
        </p:txBody>
      </p:sp>
      <p:sp>
        <p:nvSpPr>
          <p:cNvPr id="119" name="Text Placeholder 13">
            <a:extLst>
              <a:ext uri="{FF2B5EF4-FFF2-40B4-BE49-F238E27FC236}">
                <a16:creationId xmlns:a16="http://schemas.microsoft.com/office/drawing/2014/main" id="{AD2DE179-73A9-401C-B691-A52BF8A61A05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123112" y="2519364"/>
            <a:ext cx="247650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A83455-1F20-4B77-AD6F-9808D6B3F281}" type="datetime'''''''''''''''''''''''''''''''''1''2'''">
              <a:rPr lang="en-US" altLang="en-US" sz="1400" smtClean="0">
                <a:solidFill>
                  <a:srgbClr val="FFFFFF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US" sz="14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84" name="Text Placeholder 13">
            <a:extLst>
              <a:ext uri="{FF2B5EF4-FFF2-40B4-BE49-F238E27FC236}">
                <a16:creationId xmlns:a16="http://schemas.microsoft.com/office/drawing/2014/main" id="{588ADB10-C291-4FE7-AB8B-018A9C61711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123113" y="27686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F7AB95-38B7-4040-A50F-B9AEBFA2282D}" type="datetime'4''''9'''''''''''''''">
              <a:rPr lang="en-US" altLang="en-US" sz="1400" smtClean="0">
                <a:cs typeface="+mn-cs"/>
              </a:rPr>
              <a:pPr/>
              <a:t>49</a:t>
            </a:fld>
            <a:endParaRPr lang="en-US" sz="1400" dirty="0">
              <a:cs typeface="+mn-cs"/>
            </a:endParaRPr>
          </a:p>
        </p:txBody>
      </p:sp>
      <p:sp>
        <p:nvSpPr>
          <p:cNvPr id="302" name="Text Placeholder 13">
            <a:extLst>
              <a:ext uri="{FF2B5EF4-FFF2-40B4-BE49-F238E27FC236}">
                <a16:creationId xmlns:a16="http://schemas.microsoft.com/office/drawing/2014/main" id="{BC1C1D91-1DB2-4274-93E3-45D25F16F6F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073900" y="469582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31D203-472C-4A36-8B18-6CB290445048}" type="datetime'''''''''''''''1''''''''''''''''''5''3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00" name="Text Placeholder 13">
            <a:extLst>
              <a:ext uri="{FF2B5EF4-FFF2-40B4-BE49-F238E27FC236}">
                <a16:creationId xmlns:a16="http://schemas.microsoft.com/office/drawing/2014/main" id="{ED23265E-B8C7-4380-BD92-B9D67721795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123113" y="30575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84A2CC-4312-4A27-83FD-9B6104E73200}" type="datetime'''''''''''2''''''''''''''''2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400" dirty="0">
              <a:cs typeface="+mn-cs"/>
            </a:endParaRPr>
          </a:p>
        </p:txBody>
      </p:sp>
      <p:sp>
        <p:nvSpPr>
          <p:cNvPr id="305" name="Text Placeholder 13">
            <a:extLst>
              <a:ext uri="{FF2B5EF4-FFF2-40B4-BE49-F238E27FC236}">
                <a16:creationId xmlns:a16="http://schemas.microsoft.com/office/drawing/2014/main" id="{055051E4-02F4-4796-BD76-9C879070E51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418513" y="2767013"/>
            <a:ext cx="2476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5B9A05-775D-4D00-BDE5-1638D5E1E735}" type="datetime'''''''''''''''1''8''''''''''''''''''''''''''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301" name="Text Placeholder 13">
            <a:extLst>
              <a:ext uri="{FF2B5EF4-FFF2-40B4-BE49-F238E27FC236}">
                <a16:creationId xmlns:a16="http://schemas.microsoft.com/office/drawing/2014/main" id="{17CF4998-E7B7-4445-A732-B7200E86400E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080250" y="3611563"/>
            <a:ext cx="333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DD42C4-9E3F-47E7-84ED-4A2DE930A5DB}" type="datetime'''''1''14'''''''''''''''''''''''''''''''''''''''''''''''''">
              <a:rPr lang="en-US" altLang="en-US" sz="1400" smtClean="0">
                <a:cs typeface="+mn-cs"/>
              </a:rPr>
              <a:pPr/>
              <a:t>114</a:t>
            </a:fld>
            <a:endParaRPr lang="en-US" sz="1400" dirty="0">
              <a:cs typeface="+mn-cs"/>
            </a:endParaRPr>
          </a:p>
        </p:txBody>
      </p:sp>
      <p:sp>
        <p:nvSpPr>
          <p:cNvPr id="74" name="Text Placeholder 13">
            <a:extLst>
              <a:ext uri="{FF2B5EF4-FFF2-40B4-BE49-F238E27FC236}">
                <a16:creationId xmlns:a16="http://schemas.microsoft.com/office/drawing/2014/main" id="{C5F6E6B8-0A25-4576-8019-70B94DD330D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043738" y="54816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9419A0-DA93-493C-BBA5-9226BEE30F1B}" type="datetime'''''''''''''''20''''''''''''''''''''''20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400" dirty="0">
              <a:cs typeface="+mn-cs"/>
            </a:endParaRPr>
          </a:p>
        </p:txBody>
      </p:sp>
      <p:sp>
        <p:nvSpPr>
          <p:cNvPr id="311" name="Text Placeholder 13">
            <a:extLst>
              <a:ext uri="{FF2B5EF4-FFF2-40B4-BE49-F238E27FC236}">
                <a16:creationId xmlns:a16="http://schemas.microsoft.com/office/drawing/2014/main" id="{3887CA84-45B4-4EC2-AB1F-E925CDD31ECA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9715500" y="35956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73A893-97D8-4BD7-AB52-C717F086C3D5}" type="datetime'''67'''''''''">
              <a:rPr lang="en-US" altLang="en-US" sz="1400" smtClean="0">
                <a:cs typeface="+mn-cs"/>
              </a:rPr>
              <a:pPr/>
              <a:t>67</a:t>
            </a:fld>
            <a:endParaRPr lang="en-US" sz="1400" dirty="0">
              <a:cs typeface="+mn-cs"/>
            </a:endParaRPr>
          </a:p>
        </p:txBody>
      </p:sp>
      <p:sp>
        <p:nvSpPr>
          <p:cNvPr id="303" name="Text Placeholder 13">
            <a:extLst>
              <a:ext uri="{FF2B5EF4-FFF2-40B4-BE49-F238E27FC236}">
                <a16:creationId xmlns:a16="http://schemas.microsoft.com/office/drawing/2014/main" id="{14B4F16E-69B8-40D8-B4BA-7A073C97AB0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418513" y="1655763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A377E3E-EC87-4462-8D83-8B6EEF18068A}" type="datetime'''''''''''''''''''''3''6''''''''''''''''''''''''''1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61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75" name="Text Placeholder 13">
            <a:extLst>
              <a:ext uri="{FF2B5EF4-FFF2-40B4-BE49-F238E27FC236}">
                <a16:creationId xmlns:a16="http://schemas.microsoft.com/office/drawing/2014/main" id="{FDCFD29B-088B-4564-B2A6-693D1D4E7E80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339138" y="54816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5FC9BF-F5AC-4897-868A-E806FA890FCF}" type="datetime'''''''''''''''''''''''''2''0''''''2''''1''''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 dirty="0">
              <a:cs typeface="+mn-cs"/>
            </a:endParaRP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CABC9451-000B-4CD9-AAD1-895EA511B9E5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931525" y="54816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D4041A-0A92-4D2F-8A0C-FBF534D9BB3C}" type="datetime'''''''2''''''''0''''23'''''''''''''''''''''''''">
              <a:rPr lang="en-US" altLang="en-US" sz="1400" smtClean="0">
                <a:cs typeface="+mn-cs"/>
              </a:rPr>
              <a:pPr/>
              <a:t>2023</a:t>
            </a:fld>
            <a:endParaRPr lang="en-US" sz="1400" dirty="0">
              <a:cs typeface="+mn-cs"/>
            </a:endParaRPr>
          </a:p>
        </p:txBody>
      </p:sp>
      <p:sp>
        <p:nvSpPr>
          <p:cNvPr id="313" name="Text Placeholder 13">
            <a:extLst>
              <a:ext uri="{FF2B5EF4-FFF2-40B4-BE49-F238E27FC236}">
                <a16:creationId xmlns:a16="http://schemas.microsoft.com/office/drawing/2014/main" id="{79D0364E-FE91-424A-9403-0D1BDE74ACE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11010900" y="1471613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78B9596-29A2-40FF-8E88-745DA0AE57A9}" type="datetime'3''''''''8''4''''''''''''''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84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21" name="Text Placeholder 13">
            <a:extLst>
              <a:ext uri="{FF2B5EF4-FFF2-40B4-BE49-F238E27FC236}">
                <a16:creationId xmlns:a16="http://schemas.microsoft.com/office/drawing/2014/main" id="{F4759C8F-C958-4FB1-B507-6E2DE327FA05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8418512" y="2247901"/>
            <a:ext cx="247650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A28FF0-1432-41B9-8E82-4F632A602352}" type="datetime'''''''1''''''''''''''''3'''''''''">
              <a:rPr lang="en-US" altLang="en-US" sz="1400" smtClean="0">
                <a:solidFill>
                  <a:srgbClr val="FFFFFF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en-US" sz="14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293" name="Text Placeholder 13">
            <a:extLst>
              <a:ext uri="{FF2B5EF4-FFF2-40B4-BE49-F238E27FC236}">
                <a16:creationId xmlns:a16="http://schemas.microsoft.com/office/drawing/2014/main" id="{B0A1E6EC-F5B0-430D-B07E-B3E4694F909A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5827713" y="2139950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B9B7E7-8D78-4679-9D94-2F1A6DD189B3}" type="datetime'''30''''2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2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04" name="Text Placeholder 13">
            <a:extLst>
              <a:ext uri="{FF2B5EF4-FFF2-40B4-BE49-F238E27FC236}">
                <a16:creationId xmlns:a16="http://schemas.microsoft.com/office/drawing/2014/main" id="{6B56920E-810C-4E1B-91BC-F0B0035D6F88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418513" y="2497138"/>
            <a:ext cx="247650" cy="212725"/>
          </a:xfrm>
          <a:prstGeom prst="rect">
            <a:avLst/>
          </a:prstGeom>
          <a:solidFill>
            <a:srgbClr val="FFC90D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05918F-2E65-4137-8AD4-AA24AA53DC17}" type="datetime'''''''''''''4''''''''''8'">
              <a:rPr lang="en-US" altLang="en-US" sz="1400" smtClean="0">
                <a:effectLst/>
                <a:cs typeface="+mn-cs"/>
              </a:rPr>
              <a:pPr/>
              <a:t>48</a:t>
            </a:fld>
            <a:endParaRPr lang="en-US" sz="1400" dirty="0">
              <a:cs typeface="+mn-cs"/>
            </a:endParaRPr>
          </a:p>
        </p:txBody>
      </p:sp>
      <p:sp>
        <p:nvSpPr>
          <p:cNvPr id="118" name="Text Placeholder 13">
            <a:extLst>
              <a:ext uri="{FF2B5EF4-FFF2-40B4-BE49-F238E27FC236}">
                <a16:creationId xmlns:a16="http://schemas.microsoft.com/office/drawing/2014/main" id="{C648E3B9-370D-4CAB-953B-0C097E123D6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5834062" y="2976564"/>
            <a:ext cx="234950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CFA8DE-9EB1-43A3-BE81-7E11CD111561}" type="datetime'1''''''''''''1'''''''''''''''''''''''''''''''''">
              <a:rPr lang="en-US" altLang="en-US" sz="1400" smtClean="0">
                <a:solidFill>
                  <a:srgbClr val="FFFFFF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306" name="Text Placeholder 13">
            <a:extLst>
              <a:ext uri="{FF2B5EF4-FFF2-40B4-BE49-F238E27FC236}">
                <a16:creationId xmlns:a16="http://schemas.microsoft.com/office/drawing/2014/main" id="{5B05C0A3-6150-4B62-892B-91E4F2D73551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369300" y="349567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7C6376-314E-404C-82E8-88DFD32D6B27}" type="datetime'''''''''''''''''''''''''1''''''''''''61'''''''''''''''''">
              <a:rPr lang="en-US" altLang="en-US" sz="1400" smtClean="0">
                <a:cs typeface="+mn-cs"/>
              </a:rPr>
              <a:pPr/>
              <a:t>161</a:t>
            </a:fld>
            <a:endParaRPr lang="en-US" sz="1400" dirty="0">
              <a:cs typeface="+mn-cs"/>
            </a:endParaRPr>
          </a:p>
        </p:txBody>
      </p:sp>
      <p:sp>
        <p:nvSpPr>
          <p:cNvPr id="314" name="Text Placeholder 13">
            <a:extLst>
              <a:ext uri="{FF2B5EF4-FFF2-40B4-BE49-F238E27FC236}">
                <a16:creationId xmlns:a16="http://schemas.microsoft.com/office/drawing/2014/main" id="{08F55CA2-649C-4DA7-8571-168F8AF32FA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1010900" y="31051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4857D8-FA8E-446A-BB6B-B8BC4E65135B}" type="datetime'''''''''''''''''''''4''''''''''''''''''''4'''">
              <a:rPr lang="en-US" altLang="en-US" sz="1400" smtClean="0">
                <a:cs typeface="+mn-cs"/>
              </a:rPr>
              <a:pPr/>
              <a:t>44</a:t>
            </a:fld>
            <a:endParaRPr lang="en-US" sz="1400" dirty="0">
              <a:cs typeface="+mn-cs"/>
            </a:endParaRPr>
          </a:p>
        </p:txBody>
      </p:sp>
      <p:sp>
        <p:nvSpPr>
          <p:cNvPr id="294" name="Text Placeholder 13">
            <a:extLst>
              <a:ext uri="{FF2B5EF4-FFF2-40B4-BE49-F238E27FC236}">
                <a16:creationId xmlns:a16="http://schemas.microsoft.com/office/drawing/2014/main" id="{78C8BC8E-3348-4377-A2AF-1E56CE9F213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5827713" y="32210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822D5C-22A0-4B4A-9711-B2B32FD22C44}" type="datetime'''''''''''4''''''''''''''''''''''''9'''''''''''''''">
              <a:rPr lang="en-US" altLang="en-US" sz="1400" smtClean="0">
                <a:cs typeface="+mn-cs"/>
              </a:rPr>
              <a:pPr/>
              <a:t>49</a:t>
            </a:fld>
            <a:endParaRPr lang="en-US" sz="1400" dirty="0">
              <a:cs typeface="+mn-cs"/>
            </a:endParaRPr>
          </a:p>
        </p:txBody>
      </p:sp>
      <p:sp>
        <p:nvSpPr>
          <p:cNvPr id="307" name="Text Placeholder 13">
            <a:extLst>
              <a:ext uri="{FF2B5EF4-FFF2-40B4-BE49-F238E27FC236}">
                <a16:creationId xmlns:a16="http://schemas.microsoft.com/office/drawing/2014/main" id="{444724E8-76B4-4924-BE8E-8059E8C8E63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8369300" y="47323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CE1203-A9F8-41D3-BFEE-3E290867727A}" type="datetime'1''''''''''''''''''''''''''''4''''''''4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4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08" name="Text Placeholder 13">
            <a:extLst>
              <a:ext uri="{FF2B5EF4-FFF2-40B4-BE49-F238E27FC236}">
                <a16:creationId xmlns:a16="http://schemas.microsoft.com/office/drawing/2014/main" id="{49A3488A-6003-4A3A-9298-CFCF7EB3D7BA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9715500" y="1473200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3EB13E-1000-493E-B117-3D96A64249F9}" type="datetime'''''''''''3''''''''8''''''''4''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84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89" name="Text Placeholder 13">
            <a:extLst>
              <a:ext uri="{FF2B5EF4-FFF2-40B4-BE49-F238E27FC236}">
                <a16:creationId xmlns:a16="http://schemas.microsoft.com/office/drawing/2014/main" id="{F225795C-244F-47ED-9400-61AF1403A84C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636125" y="54816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C030D1-BCE7-4D19-AA37-BC4BDAA9A7F1}" type="datetime'''''''''''''20''''''''''''''''''''2''''''''''2'''">
              <a:rPr lang="en-US" altLang="en-US" sz="1400" smtClean="0">
                <a:cs typeface="+mn-cs"/>
              </a:rPr>
              <a:pPr/>
              <a:t>2022</a:t>
            </a:fld>
            <a:endParaRPr lang="en-US" sz="1400" dirty="0">
              <a:cs typeface="+mn-cs"/>
            </a:endParaRPr>
          </a:p>
        </p:txBody>
      </p:sp>
      <p:sp useBgFill="1">
        <p:nvSpPr>
          <p:cNvPr id="120" name="Text Placeholder 13">
            <a:extLst>
              <a:ext uri="{FF2B5EF4-FFF2-40B4-BE49-F238E27FC236}">
                <a16:creationId xmlns:a16="http://schemas.microsoft.com/office/drawing/2014/main" id="{49159F19-0918-4966-9C81-51A1FE58E9FE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5943600" y="2640013"/>
            <a:ext cx="414338" cy="274638"/>
          </a:xfrm>
          <a:prstGeom prst="rect">
            <a:avLst/>
          </a:prstGeom>
          <a:ln>
            <a:noFill/>
          </a:ln>
          <a:effectLst/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2BBFEB-175E-4FDE-BE34-2A7D3A2121FA}" type="datetime'''''''''''''''''''29''''''''''''3'''''''''''''''''''''''''''">
              <a:rPr lang="en-US" altLang="en-US" sz="1800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293</a:t>
            </a:fld>
            <a:endParaRPr lang="en-US" sz="18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10" name="Text Placeholder 13">
            <a:extLst>
              <a:ext uri="{FF2B5EF4-FFF2-40B4-BE49-F238E27FC236}">
                <a16:creationId xmlns:a16="http://schemas.microsoft.com/office/drawing/2014/main" id="{B47C4CBA-4C0E-41B7-86BD-C88A9C378B2E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715500" y="3254375"/>
            <a:ext cx="2476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6229D3-55C6-4159-A001-1E4C878834C1}" type="datetime'''''''''''''''''''''''''''''''''''1''''''7''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en-US" sz="1400" dirty="0">
              <a:cs typeface="+mn-cs"/>
            </a:endParaRPr>
          </a:p>
        </p:txBody>
      </p:sp>
      <p:sp>
        <p:nvSpPr>
          <p:cNvPr id="127" name="Text Placeholder 13">
            <a:extLst>
              <a:ext uri="{FF2B5EF4-FFF2-40B4-BE49-F238E27FC236}">
                <a16:creationId xmlns:a16="http://schemas.microsoft.com/office/drawing/2014/main" id="{F2BC6DC9-A1D9-40B4-B313-DE90E65885F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1010899" y="2863851"/>
            <a:ext cx="247650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994A30-7C87-4FEF-84D2-0DF816A687C6}" type="datetime'''''''''''''1''''''''''''''''''''''''6'''''''''''">
              <a:rPr lang="en-US" altLang="en-US" sz="1400" smtClean="0">
                <a:solidFill>
                  <a:srgbClr val="FFFFFF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4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315" name="Text Placeholder 13">
            <a:extLst>
              <a:ext uri="{FF2B5EF4-FFF2-40B4-BE49-F238E27FC236}">
                <a16:creationId xmlns:a16="http://schemas.microsoft.com/office/drawing/2014/main" id="{70E547D4-F8CD-4325-8079-DC8BD5407005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1010900" y="3348038"/>
            <a:ext cx="2476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F782EE-08F0-4652-9D76-5C6E107CA8C9}" type="datetime'''''1''6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US" sz="1400" dirty="0">
              <a:cs typeface="+mn-cs"/>
            </a:endParaRPr>
          </a:p>
        </p:txBody>
      </p:sp>
      <p:sp>
        <p:nvSpPr>
          <p:cNvPr id="316" name="Text Placeholder 13">
            <a:extLst>
              <a:ext uri="{FF2B5EF4-FFF2-40B4-BE49-F238E27FC236}">
                <a16:creationId xmlns:a16="http://schemas.microsoft.com/office/drawing/2014/main" id="{9635C398-1DBC-41F4-A7EB-7CBB1DF1B13D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1010900" y="36480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D406EA-CC1B-488C-AADF-31B7C01EE209}" type="datetime'''''''''''''''''5''''''''''''''''''''''7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</a:t>
            </a:fld>
            <a:endParaRPr lang="en-US" sz="1400" dirty="0">
              <a:cs typeface="+mn-cs"/>
            </a:endParaRPr>
          </a:p>
        </p:txBody>
      </p:sp>
      <p:sp>
        <p:nvSpPr>
          <p:cNvPr id="317" name="Text Placeholder 13">
            <a:extLst>
              <a:ext uri="{FF2B5EF4-FFF2-40B4-BE49-F238E27FC236}">
                <a16:creationId xmlns:a16="http://schemas.microsoft.com/office/drawing/2014/main" id="{7CF571F9-43E7-4189-83DD-076A5500CAFF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0961688" y="459898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39D0AB-1C1F-4D7E-8549-FFE6F3F92ECA}" type="datetime'''''''''''''''''''''''''''1''''7''''''''''6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6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12" name="Text Placeholder 13">
            <a:extLst>
              <a:ext uri="{FF2B5EF4-FFF2-40B4-BE49-F238E27FC236}">
                <a16:creationId xmlns:a16="http://schemas.microsoft.com/office/drawing/2014/main" id="{0CEA0382-5FF0-4B97-A8B0-3E17EC78EDE1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9666288" y="45926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06495C-9C2E-482E-99D5-6F8C2ADC0911}" type="datetime'''''17''''8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8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95" name="Text Placeholder 13">
            <a:extLst>
              <a:ext uri="{FF2B5EF4-FFF2-40B4-BE49-F238E27FC236}">
                <a16:creationId xmlns:a16="http://schemas.microsoft.com/office/drawing/2014/main" id="{97887043-A51C-446E-B6DC-80DC976DBBA5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5834063" y="3465513"/>
            <a:ext cx="2349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3BC7E2-0775-40F2-A2AE-D54D9759828B}" type="datetime'''''''''''1''''''''''''''''''''''''''''1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</a:t>
            </a:fld>
            <a:endParaRPr lang="en-US" sz="1400" dirty="0">
              <a:cs typeface="+mn-cs"/>
            </a:endParaRPr>
          </a:p>
        </p:txBody>
      </p:sp>
      <p:sp>
        <p:nvSpPr>
          <p:cNvPr id="125" name="Text Placeholder 13">
            <a:extLst>
              <a:ext uri="{FF2B5EF4-FFF2-40B4-BE49-F238E27FC236}">
                <a16:creationId xmlns:a16="http://schemas.microsoft.com/office/drawing/2014/main" id="{C8D4F54D-2D42-4560-8F78-8C4DB2134F73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0928350" y="2589213"/>
            <a:ext cx="4143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D80777-0D46-49B0-B33D-43A89FAC87C3}" type="datetime'''''''3''''''''1''''''''''''''''0'''''''''''''''''''">
              <a:rPr lang="en-US" altLang="en-US" sz="18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310</a:t>
            </a:fld>
            <a:endParaRPr lang="en-US" sz="18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96" name="Text Placeholder 13">
            <a:extLst>
              <a:ext uri="{FF2B5EF4-FFF2-40B4-BE49-F238E27FC236}">
                <a16:creationId xmlns:a16="http://schemas.microsoft.com/office/drawing/2014/main" id="{1DA83040-C054-4B6E-950F-5417D4F14997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5827713" y="39084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49C5D1-1754-483C-8F02-ADF361C4B857}" type="datetime'''''''9''''''''''''''''''''''8'''''''''''''''''''''''''''">
              <a:rPr lang="en-US" altLang="en-US" sz="1400" smtClean="0">
                <a:cs typeface="+mn-cs"/>
              </a:rPr>
              <a:pPr/>
              <a:t>98</a:t>
            </a:fld>
            <a:endParaRPr lang="en-US" sz="1400" dirty="0">
              <a:cs typeface="+mn-cs"/>
            </a:endParaRPr>
          </a:p>
        </p:txBody>
      </p:sp>
      <p:sp>
        <p:nvSpPr>
          <p:cNvPr id="297" name="Text Placeholder 13">
            <a:extLst>
              <a:ext uri="{FF2B5EF4-FFF2-40B4-BE49-F238E27FC236}">
                <a16:creationId xmlns:a16="http://schemas.microsoft.com/office/drawing/2014/main" id="{06029D43-B524-4EEC-B352-3181F484DF48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778500" y="4811713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A52945-E6AA-4632-AF85-D96981FC6DE9}" type="datetime'''''''''''''''''''''''''''''''''''''''''''1''''''''''2''''4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4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73" name="Text Placeholder 13">
            <a:extLst>
              <a:ext uri="{FF2B5EF4-FFF2-40B4-BE49-F238E27FC236}">
                <a16:creationId xmlns:a16="http://schemas.microsoft.com/office/drawing/2014/main" id="{83AAA23A-33D9-4FCC-BAF0-B1AA09741C5B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748338" y="54816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6E3292-2A33-4044-96BC-6969B5716211}" type="datetime'2''''''0''''1''''''''''''''''''''''''''''9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 dirty="0">
              <a:cs typeface="+mn-cs"/>
            </a:endParaRPr>
          </a:p>
        </p:txBody>
      </p:sp>
      <p:sp>
        <p:nvSpPr>
          <p:cNvPr id="126" name="Text Placeholder 13">
            <a:extLst>
              <a:ext uri="{FF2B5EF4-FFF2-40B4-BE49-F238E27FC236}">
                <a16:creationId xmlns:a16="http://schemas.microsoft.com/office/drawing/2014/main" id="{688E920D-104C-404F-B9CC-E04FDC07ACA7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9715499" y="2751139"/>
            <a:ext cx="247650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DA7EDB-4AAA-4A1D-BDFE-100619D78BF5}" type="datetime'''''''''''''''''''''''''''''''''''''''1''''''''''4'''''''">
              <a:rPr lang="en-US" altLang="en-US" sz="1400" smtClean="0">
                <a:solidFill>
                  <a:srgbClr val="FFFFFF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US" sz="14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22" name="Text Placeholder 13">
            <a:extLst>
              <a:ext uri="{FF2B5EF4-FFF2-40B4-BE49-F238E27FC236}">
                <a16:creationId xmlns:a16="http://schemas.microsoft.com/office/drawing/2014/main" id="{85D48954-C8F5-4495-9E57-FEA74D176487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7239000" y="2154238"/>
            <a:ext cx="4143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D46ABF-5F8A-4BFD-AE25-5A8DD3B0B809}" type="datetime'''''3''''''''''''''''''''''''''''50'''''''''''">
              <a:rPr lang="en-US" altLang="en-US" sz="1800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350</a:t>
            </a:fld>
            <a:endParaRPr lang="en-US" sz="18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23" name="Text Placeholder 13">
            <a:extLst>
              <a:ext uri="{FF2B5EF4-FFF2-40B4-BE49-F238E27FC236}">
                <a16:creationId xmlns:a16="http://schemas.microsoft.com/office/drawing/2014/main" id="{A0635206-9CD6-4422-AD78-FD0CB09EB3E3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8655050" y="1973263"/>
            <a:ext cx="4143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A16598-A620-4AC3-BB2E-5B7A1428835B}" type="datetime'3''''''''''''''''''''''''''''''''''''''8''''''''4'''''''''''">
              <a:rPr lang="en-US" altLang="en-US" sz="18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384</a:t>
            </a:fld>
            <a:endParaRPr lang="en-US" sz="18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24" name="Text Placeholder 13">
            <a:extLst>
              <a:ext uri="{FF2B5EF4-FFF2-40B4-BE49-F238E27FC236}">
                <a16:creationId xmlns:a16="http://schemas.microsoft.com/office/drawing/2014/main" id="{93FE9A6C-B581-4A86-AF89-A843C953F890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9632950" y="2476500"/>
            <a:ext cx="4143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33338" tIns="0" rIns="33338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FC97D6-E8C6-4AD1-91E1-A2EEF8FE4B6B}" type="datetime'''3''''2''''''''''''''''''3'''''''''">
              <a:rPr lang="en-US" altLang="en-US" sz="18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323</a:t>
            </a:fld>
            <a:endParaRPr lang="en-US" sz="18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17" name="Text Placeholder 13">
            <a:extLst>
              <a:ext uri="{FF2B5EF4-FFF2-40B4-BE49-F238E27FC236}">
                <a16:creationId xmlns:a16="http://schemas.microsoft.com/office/drawing/2014/main" id="{D01A940E-2CC2-4CBF-9F62-C28D41EA36FE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0193338" y="2357438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EE35B6-1B10-4CB9-8478-8D183E9C6E16}" type="datetime'''''-''''''''''''''''''''''''''''''''''''1''''6''%'''''''''''">
              <a:rPr lang="en-US" altLang="en-US" sz="1400" b="1" smtClean="0">
                <a:effectLst/>
                <a:cs typeface="+mn-cs"/>
              </a:rPr>
              <a:pPr/>
              <a:t>-16%</a:t>
            </a:fld>
            <a:endParaRPr lang="en-US" sz="1400" b="1" dirty="0">
              <a:cs typeface="+mn-cs"/>
            </a:endParaRPr>
          </a:p>
        </p:txBody>
      </p:sp>
      <p:sp>
        <p:nvSpPr>
          <p:cNvPr id="180" name="Text Placeholder 13">
            <a:extLst>
              <a:ext uri="{FF2B5EF4-FFF2-40B4-BE49-F238E27FC236}">
                <a16:creationId xmlns:a16="http://schemas.microsoft.com/office/drawing/2014/main" id="{C0A1E516-37C9-448A-A874-3DBD664617F4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7670800" y="2625725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D95783-8986-495C-B64B-18368738FEB9}" type="datetime'''''''''''''''''''''''''''''''''-''''''''3''%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endParaRPr lang="en-US" sz="1400" b="1" dirty="0">
              <a:cs typeface="+mn-cs"/>
            </a:endParaRPr>
          </a:p>
        </p:txBody>
      </p:sp>
      <p:sp>
        <p:nvSpPr>
          <p:cNvPr id="226" name="Text Placeholder 13">
            <a:extLst>
              <a:ext uri="{FF2B5EF4-FFF2-40B4-BE49-F238E27FC236}">
                <a16:creationId xmlns:a16="http://schemas.microsoft.com/office/drawing/2014/main" id="{FA880CD6-F9F5-46AC-9D6E-1836CE487E4B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11488738" y="2409825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85EFACE-2F97-43FC-B610-43AEF7D96B7E}" type="datetime'''''''-''''''''1''''''9''''''''''''''''''''''''%'''">
              <a:rPr lang="en-US" altLang="en-US" sz="1400" b="1" smtClean="0">
                <a:effectLst/>
                <a:cs typeface="+mn-cs"/>
              </a:rPr>
              <a:pPr/>
              <a:t>-19%</a:t>
            </a:fld>
            <a:endParaRPr lang="en-US" sz="1400" b="1" dirty="0">
              <a:cs typeface="+mn-cs"/>
            </a:endParaRPr>
          </a:p>
        </p:txBody>
      </p:sp>
      <p:sp>
        <p:nvSpPr>
          <p:cNvPr id="142" name="Text Placeholder 13">
            <a:extLst>
              <a:ext uri="{FF2B5EF4-FFF2-40B4-BE49-F238E27FC236}">
                <a16:creationId xmlns:a16="http://schemas.microsoft.com/office/drawing/2014/main" id="{4D9ACC62-7B7B-43A6-A070-C2F2A932FD2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6375400" y="3086100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703F6D-0ED3-4093-AB75-AF67AAB4F1E2}" type="datetime'''''''''''''''''''''''''''''''-''''''3''''%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3%</a:t>
            </a:fld>
            <a:endParaRPr lang="en-US" sz="1400" b="1" dirty="0">
              <a:cs typeface="+mn-cs"/>
            </a:endParaRPr>
          </a:p>
        </p:txBody>
      </p:sp>
      <p:sp>
        <p:nvSpPr>
          <p:cNvPr id="156" name="Text Placeholder 13">
            <a:extLst>
              <a:ext uri="{FF2B5EF4-FFF2-40B4-BE49-F238E27FC236}">
                <a16:creationId xmlns:a16="http://schemas.microsoft.com/office/drawing/2014/main" id="{ACA415FA-5F65-4BDA-9C99-78E46546AA2A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8936038" y="2533650"/>
            <a:ext cx="5111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3B3F19-C927-45D3-9390-080B4D389080}" type="datetime'''''''''''''+''''6''''''''''''''''''''''''''''''''''''%'''''">
              <a:rPr lang="en-US" altLang="en-US" sz="1400" b="1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%</a:t>
            </a:fld>
            <a:endParaRPr lang="en-US" sz="1400" b="1" dirty="0"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40403A8-F869-42A3-9366-4FB329F79D69}"/>
              </a:ext>
            </a:extLst>
          </p:cNvPr>
          <p:cNvCxnSpPr/>
          <p:nvPr>
            <p:custDataLst>
              <p:tags r:id="rId79"/>
            </p:custDataLst>
          </p:nvPr>
        </p:nvCxnSpPr>
        <p:spPr bwMode="gray">
          <a:xfrm>
            <a:off x="10771188" y="5876925"/>
            <a:ext cx="1588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3F7CD693-A316-4F9A-9E9E-B9E8DD7C5FE6}"/>
              </a:ext>
            </a:extLst>
          </p:cNvPr>
          <p:cNvCxnSpPr/>
          <p:nvPr>
            <p:custDataLst>
              <p:tags r:id="rId80"/>
            </p:custDataLst>
          </p:nvPr>
        </p:nvCxnSpPr>
        <p:spPr bwMode="gray">
          <a:xfrm>
            <a:off x="10996613" y="5876925"/>
            <a:ext cx="1588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EB9B0F0F-BC70-4554-ADD6-3E0FAA49ECA9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10833100" y="5826125"/>
            <a:ext cx="101600" cy="1016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 Placeholder 13">
            <a:extLst>
              <a:ext uri="{FF2B5EF4-FFF2-40B4-BE49-F238E27FC236}">
                <a16:creationId xmlns:a16="http://schemas.microsoft.com/office/drawing/2014/main" id="{D0356B99-9E62-40F0-8AB2-36144B7EAB3D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11115675" y="5778500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EA7A8D-B18F-467B-B506-D53AB1207E01}" type="datetime'Co''''''''''''''u''''''t''''''''s'''">
              <a:rPr lang="en-US" altLang="en-US" sz="1400" smtClean="0">
                <a:cs typeface="+mn-cs"/>
              </a:rPr>
              <a:pPr/>
              <a:t>Couts</a:t>
            </a:fld>
            <a:endParaRPr lang="en-US" sz="1400" dirty="0">
              <a:cs typeface="+mn-cs"/>
            </a:endParaRPr>
          </a:p>
        </p:txBody>
      </p:sp>
      <p:sp>
        <p:nvSpPr>
          <p:cNvPr id="203" name="Rectangle 202" hidden="1">
            <a:extLst>
              <a:ext uri="{FF2B5EF4-FFF2-40B4-BE49-F238E27FC236}">
                <a16:creationId xmlns:a16="http://schemas.microsoft.com/office/drawing/2014/main" id="{F17259C5-9613-4026-8A4A-F15F6B47614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352" name="Rectangle 351" hidden="1">
            <a:extLst>
              <a:ext uri="{FF2B5EF4-FFF2-40B4-BE49-F238E27FC236}">
                <a16:creationId xmlns:a16="http://schemas.microsoft.com/office/drawing/2014/main" id="{66A770D3-888B-4D22-A67B-A91226F97B1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355" name="Rectangle 354" hidden="1">
            <a:extLst>
              <a:ext uri="{FF2B5EF4-FFF2-40B4-BE49-F238E27FC236}">
                <a16:creationId xmlns:a16="http://schemas.microsoft.com/office/drawing/2014/main" id="{8771759C-8E47-408C-8F79-D8CBDCEE73A7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383" name="Rectangle 382" hidden="1">
            <a:extLst>
              <a:ext uri="{FF2B5EF4-FFF2-40B4-BE49-F238E27FC236}">
                <a16:creationId xmlns:a16="http://schemas.microsoft.com/office/drawing/2014/main" id="{16FA4B70-FB12-4C31-9CA9-FFD24C29E4B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409" name="Rectangle 408" hidden="1">
            <a:extLst>
              <a:ext uri="{FF2B5EF4-FFF2-40B4-BE49-F238E27FC236}">
                <a16:creationId xmlns:a16="http://schemas.microsoft.com/office/drawing/2014/main" id="{9C260BBD-3422-44C2-A1FB-7BAB16D3769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474" name="Rectangle 473" hidden="1">
            <a:extLst>
              <a:ext uri="{FF2B5EF4-FFF2-40B4-BE49-F238E27FC236}">
                <a16:creationId xmlns:a16="http://schemas.microsoft.com/office/drawing/2014/main" id="{6C938514-D1C0-4CBC-8AFA-F3227B3773C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483" name="Rectangle 482" hidden="1">
            <a:extLst>
              <a:ext uri="{FF2B5EF4-FFF2-40B4-BE49-F238E27FC236}">
                <a16:creationId xmlns:a16="http://schemas.microsoft.com/office/drawing/2014/main" id="{9293AE42-F555-4D43-A89A-75999387FA93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BE0DC338-41DF-4121-8215-3DB0EC3BF007}"/>
              </a:ext>
            </a:extLst>
          </p:cNvPr>
          <p:cNvSpPr txBox="1"/>
          <p:nvPr/>
        </p:nvSpPr>
        <p:spPr>
          <a:xfrm>
            <a:off x="173831" y="1069400"/>
            <a:ext cx="5047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du PNDSS par source de financement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1" name="TextBox 110">
            <a:extLst>
              <a:ext uri="{FF2B5EF4-FFF2-40B4-BE49-F238E27FC236}">
                <a16:creationId xmlns:a16="http://schemas.microsoft.com/office/drawing/2014/main" id="{F71A771D-C03A-4B98-A164-4BE6B3F66B76}"/>
              </a:ext>
            </a:extLst>
          </p:cNvPr>
          <p:cNvSpPr txBox="1">
            <a:spLocks noChangeAspect="1"/>
          </p:cNvSpPr>
          <p:nvPr/>
        </p:nvSpPr>
        <p:spPr>
          <a:xfrm>
            <a:off x="5390767" y="6006305"/>
            <a:ext cx="6391658" cy="75406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274320" rtlCol="0" anchor="ctr" anchorCtr="0">
            <a:noAutofit/>
          </a:bodyPr>
          <a:lstStyle>
            <a:defPPr>
              <a:defRPr lang="en-US"/>
            </a:defPPr>
            <a:lvl1pPr marL="285750" indent="-285750" algn="justLow">
              <a:buFont typeface="Arial" panose="020B0604020202020204" pitchFamily="34" charset="0"/>
              <a:buChar char="•"/>
            </a:lvl1pPr>
          </a:lstStyle>
          <a:p>
            <a:r>
              <a:rPr lang="fr-FR" b="1" dirty="0"/>
              <a:t>Gap de financement total de 7 %, </a:t>
            </a:r>
            <a:r>
              <a:rPr lang="fr-FR" dirty="0"/>
              <a:t>principalement dû aux années 2022 et 2023</a:t>
            </a:r>
            <a:endParaRPr lang="en-US" dirty="0"/>
          </a:p>
        </p:txBody>
      </p:sp>
      <p:graphicFrame>
        <p:nvGraphicFramePr>
          <p:cNvPr id="112" name="Chart 111">
            <a:extLst>
              <a:ext uri="{FF2B5EF4-FFF2-40B4-BE49-F238E27FC236}">
                <a16:creationId xmlns:a16="http://schemas.microsoft.com/office/drawing/2014/main" id="{07E82D83-57CD-4995-9C89-F92990CE0373}"/>
              </a:ext>
            </a:extLst>
          </p:cNvPr>
          <p:cNvGraphicFramePr/>
          <p:nvPr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986494390"/>
              </p:ext>
            </p:extLst>
          </p:nvPr>
        </p:nvGraphicFramePr>
        <p:xfrm>
          <a:off x="568325" y="1835150"/>
          <a:ext cx="3727450" cy="3717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2"/>
          </a:graphicData>
        </a:graphic>
      </p:graphicFrame>
      <p:sp>
        <p:nvSpPr>
          <p:cNvPr id="290" name="Text Placeholder 13">
            <a:extLst>
              <a:ext uri="{FF2B5EF4-FFF2-40B4-BE49-F238E27FC236}">
                <a16:creationId xmlns:a16="http://schemas.microsoft.com/office/drawing/2014/main" id="{7B03B6C5-E8C5-47B4-B912-915CFD5310FF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1892300" y="2008188"/>
            <a:ext cx="350838" cy="244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080C1E0-B0EC-4F92-B092-2A254DB89069}" type="datetime'''''''''''''''7''%'''''">
              <a:rPr lang="en-US" altLang="en-US" b="1" smtClean="0">
                <a:effectLst/>
                <a:cs typeface="+mn-cs"/>
              </a:rPr>
              <a:pPr/>
              <a:t>7%</a:t>
            </a:fld>
            <a:endParaRPr lang="en-US" b="1" dirty="0">
              <a:cs typeface="+mn-cs"/>
            </a:endParaRPr>
          </a:p>
        </p:txBody>
      </p:sp>
      <p:sp>
        <p:nvSpPr>
          <p:cNvPr id="247" name="Rectangle 246">
            <a:extLst>
              <a:ext uri="{FF2B5EF4-FFF2-40B4-BE49-F238E27FC236}">
                <a16:creationId xmlns:a16="http://schemas.microsoft.com/office/drawing/2014/main" id="{7E7CC3BF-11D5-4DAD-90A8-D82A9FEAAD03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704850" y="5886450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1" name="Rectangle 250">
            <a:extLst>
              <a:ext uri="{FF2B5EF4-FFF2-40B4-BE49-F238E27FC236}">
                <a16:creationId xmlns:a16="http://schemas.microsoft.com/office/drawing/2014/main" id="{6A5F7D85-F1B4-46A0-99E1-B042301A492B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704850" y="6149975"/>
            <a:ext cx="250825" cy="1873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0" name="Rectangle 479">
            <a:extLst>
              <a:ext uri="{FF2B5EF4-FFF2-40B4-BE49-F238E27FC236}">
                <a16:creationId xmlns:a16="http://schemas.microsoft.com/office/drawing/2014/main" id="{5D05526D-1A00-4E3A-9F5B-86AB27C2005A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704850" y="6413500"/>
            <a:ext cx="250825" cy="187325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4" name="Rectangle 483">
            <a:extLst>
              <a:ext uri="{FF2B5EF4-FFF2-40B4-BE49-F238E27FC236}">
                <a16:creationId xmlns:a16="http://schemas.microsoft.com/office/drawing/2014/main" id="{D1B62F89-43C8-47CE-85A6-DB034D29E7B2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2981325" y="6413500"/>
            <a:ext cx="250825" cy="187325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F54223F3-B3B3-4598-B186-290242D9C591}"/>
              </a:ext>
            </a:extLst>
          </p:cNvPr>
          <p:cNvSpPr/>
          <p:nvPr>
            <p:custDataLst>
              <p:tags r:id="rId89"/>
            </p:custDataLst>
          </p:nvPr>
        </p:nvSpPr>
        <p:spPr bwMode="auto">
          <a:xfrm>
            <a:off x="2981325" y="5886450"/>
            <a:ext cx="250825" cy="187325"/>
          </a:xfrm>
          <a:prstGeom prst="rect">
            <a:avLst/>
          </a:prstGeom>
          <a:solidFill>
            <a:srgbClr val="FFC90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C4B287-D295-404A-BF63-B1928F6AB00B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2981325" y="6149975"/>
            <a:ext cx="250825" cy="187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7" name="Text Placeholder 13">
            <a:extLst>
              <a:ext uri="{FF2B5EF4-FFF2-40B4-BE49-F238E27FC236}">
                <a16:creationId xmlns:a16="http://schemas.microsoft.com/office/drawing/2014/main" id="{93C025BB-285C-480E-A917-63E54A377060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1006475" y="6145213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BCF9A9F-B118-4E36-ABFD-B1E67149241E}" type="datetime'''''''P''''''''T''''''''F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254" name="Text Placeholder 13">
            <a:extLst>
              <a:ext uri="{FF2B5EF4-FFF2-40B4-BE49-F238E27FC236}">
                <a16:creationId xmlns:a16="http://schemas.microsoft.com/office/drawing/2014/main" id="{17A17447-26A3-4942-88B7-95C3C8B804E8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1006475" y="5881688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036FA40-A0CF-45D7-8D09-B4682A36136E}" type="datetime'''''Eta''''''''''''t''''''''''''''''''''''''''''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110" name="Text Placeholder 13">
            <a:extLst>
              <a:ext uri="{FF2B5EF4-FFF2-40B4-BE49-F238E27FC236}">
                <a16:creationId xmlns:a16="http://schemas.microsoft.com/office/drawing/2014/main" id="{33CF6227-E2D0-4F09-BB9B-57F5DB67288A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282950" y="6145213"/>
            <a:ext cx="1065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BBFAEA-49A0-444C-8464-17DCF7532726}" type="datetime'''''''Se''ct''''''''''''''''eur ''''''''Pr''i''''v''''é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266" name="Text Placeholder 13">
            <a:extLst>
              <a:ext uri="{FF2B5EF4-FFF2-40B4-BE49-F238E27FC236}">
                <a16:creationId xmlns:a16="http://schemas.microsoft.com/office/drawing/2014/main" id="{D4EDDF3C-B420-46B8-A547-92DA8E135E7C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1006475" y="6408738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AF011B-8F3C-4C92-9A17-6AEE2A300335}" type="datetime'''''Co''l''''''lect''ivités'' t''er''r''it''or''iale''s'''''">
              <a:rPr lang="en-US" altLang="en-US" sz="1400" smtClean="0">
                <a:cs typeface="+mn-cs"/>
              </a:rPr>
              <a:pPr/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267" name="Text Placeholder 13">
            <a:extLst>
              <a:ext uri="{FF2B5EF4-FFF2-40B4-BE49-F238E27FC236}">
                <a16:creationId xmlns:a16="http://schemas.microsoft.com/office/drawing/2014/main" id="{9A4A6B80-C816-459D-87D0-ACB87A4EBED3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3282950" y="5881688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C8F5EA-B35A-484B-8ECA-0BB2378BCD45}" type="datetime'''''M''''''''''''''éna''''''''g''''''e''''''''''''''''''s''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13">
            <a:extLst>
              <a:ext uri="{FF2B5EF4-FFF2-40B4-BE49-F238E27FC236}">
                <a16:creationId xmlns:a16="http://schemas.microsoft.com/office/drawing/2014/main" id="{C7117601-E82A-484A-A6C0-981E5C52009A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3282950" y="6408738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A2F8C3-183F-47AE-97B2-629E9E784859}" type="datetime'''G''''''''''''''''a''''''''''''''''''''''''''''p'''''''">
              <a:rPr lang="en-US" altLang="en-US" sz="1400" smtClean="0">
                <a:cs typeface="+mn-cs"/>
              </a:rPr>
              <a:pPr/>
              <a:t>Gap</a:t>
            </a:fld>
            <a:endParaRPr lang="en-US" sz="1400" dirty="0">
              <a:cs typeface="+mn-cs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id="{030A68B8-1379-47C1-AA6E-417E38AAD9B0}"/>
              </a:ext>
            </a:extLst>
          </p:cNvPr>
          <p:cNvSpPr txBox="1"/>
          <p:nvPr/>
        </p:nvSpPr>
        <p:spPr>
          <a:xfrm>
            <a:off x="4420364" y="1916913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B35A3B36-9970-4363-B63D-A684F1110562}"/>
              </a:ext>
            </a:extLst>
          </p:cNvPr>
          <p:cNvSpPr txBox="1"/>
          <p:nvPr/>
        </p:nvSpPr>
        <p:spPr>
          <a:xfrm>
            <a:off x="5894783" y="1048763"/>
            <a:ext cx="5047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alyse des gaps de financement du PNDSS par source de financement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60000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8F36550B-5DBF-4013-9CDF-871FC849FD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814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200" imgW="416" imgH="416" progId="TCLayout.ActiveDocument.1">
                  <p:embed/>
                </p:oleObj>
              </mc:Choice>
              <mc:Fallback>
                <p:oleObj name="think-cell Slide" r:id="rId20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8" name="Chart 217">
            <a:extLst>
              <a:ext uri="{FF2B5EF4-FFF2-40B4-BE49-F238E27FC236}">
                <a16:creationId xmlns:a16="http://schemas.microsoft.com/office/drawing/2014/main" id="{5156B29C-1859-49B5-9986-14AFC8D6DFD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40967841"/>
              </p:ext>
            </p:extLst>
          </p:nvPr>
        </p:nvGraphicFramePr>
        <p:xfrm>
          <a:off x="576263" y="4300538"/>
          <a:ext cx="5208587" cy="192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2"/>
          </a:graphicData>
        </a:graphic>
      </p:graphicFrame>
      <p:sp>
        <p:nvSpPr>
          <p:cNvPr id="478" name="Text Placeholder 13">
            <a:extLst>
              <a:ext uri="{FF2B5EF4-FFF2-40B4-BE49-F238E27FC236}">
                <a16:creationId xmlns:a16="http://schemas.microsoft.com/office/drawing/2014/main" id="{FC202032-60C9-48A5-8F21-ADFF093F9D4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85750" y="5594350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F6C5361-CE17-43BB-A52C-BD3AB83CF24B}" type="datetime'2''0''''''''''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486" name="Text Placeholder 13">
            <a:extLst>
              <a:ext uri="{FF2B5EF4-FFF2-40B4-BE49-F238E27FC236}">
                <a16:creationId xmlns:a16="http://schemas.microsoft.com/office/drawing/2014/main" id="{54BD1664-42D4-4EF6-9A25-9E0F277CF39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85750" y="47164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16B030-CCA6-4055-B7A3-8C7D9B5B274F}" type="datetime'''''''''''''''''''''''''''''6''''''''0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cs typeface="+mn-cs"/>
            </a:endParaRPr>
          </a:p>
        </p:txBody>
      </p:sp>
      <p:sp>
        <p:nvSpPr>
          <p:cNvPr id="482" name="Text Placeholder 13">
            <a:extLst>
              <a:ext uri="{FF2B5EF4-FFF2-40B4-BE49-F238E27FC236}">
                <a16:creationId xmlns:a16="http://schemas.microsoft.com/office/drawing/2014/main" id="{306E44C0-E436-42EE-BD2F-AB6E3AC34D1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85750" y="515461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ABFFFB4-0DB3-4278-B6FD-D88F0C175DFF}" type="datetime'''''''''''''4''''''''0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192" name="Text Placeholder 13">
            <a:extLst>
              <a:ext uri="{FF2B5EF4-FFF2-40B4-BE49-F238E27FC236}">
                <a16:creationId xmlns:a16="http://schemas.microsoft.com/office/drawing/2014/main" id="{68531310-4EBB-47D9-8188-DC6FC1B1CB33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4175" y="603250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E246D9-318F-49FB-81E4-DCDF442B1A7F}" type="datetime'''''''''''''''''''0''''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53" name="Text Placeholder 13">
            <a:extLst>
              <a:ext uri="{FF2B5EF4-FFF2-40B4-BE49-F238E27FC236}">
                <a16:creationId xmlns:a16="http://schemas.microsoft.com/office/drawing/2014/main" id="{92E6708E-3115-4649-9E90-74EFA01AF59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85750" y="427672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CFD6BF-C35F-47DE-811D-354061BA13ED}" type="datetime'''8''''''''''''''''''''''''''''''''''''0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cs typeface="+mn-cs"/>
            </a:endParaRPr>
          </a:p>
        </p:txBody>
      </p:sp>
      <p:cxnSp>
        <p:nvCxnSpPr>
          <p:cNvPr id="810" name="Straight Connector 809">
            <a:extLst>
              <a:ext uri="{FF2B5EF4-FFF2-40B4-BE49-F238E27FC236}">
                <a16:creationId xmlns:a16="http://schemas.microsoft.com/office/drawing/2014/main" id="{55282ABA-A4EC-4180-93B1-2CC208240BE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H="1">
            <a:off x="5407025" y="4838700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0" name="Straight Connector 799">
            <a:extLst>
              <a:ext uri="{FF2B5EF4-FFF2-40B4-BE49-F238E27FC236}">
                <a16:creationId xmlns:a16="http://schemas.microsoft.com/office/drawing/2014/main" id="{DD8F81B5-E1C9-46E6-B6C3-ED504A36D7CC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5407025" y="5495925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0E6CF0C-ED06-4CF4-A7C2-401CB0C0D42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3175001" y="4687888"/>
            <a:ext cx="31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7" name="Straight Connector 796">
            <a:extLst>
              <a:ext uri="{FF2B5EF4-FFF2-40B4-BE49-F238E27FC236}">
                <a16:creationId xmlns:a16="http://schemas.microsoft.com/office/drawing/2014/main" id="{8136697C-5172-4AF7-869B-90F79EB18E3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2381250" y="5638800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8" name="Straight Connector 807">
            <a:extLst>
              <a:ext uri="{FF2B5EF4-FFF2-40B4-BE49-F238E27FC236}">
                <a16:creationId xmlns:a16="http://schemas.microsoft.com/office/drawing/2014/main" id="{5EC160A6-41AE-40C7-AC4A-19BBBE72EFB4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H="1">
            <a:off x="3389313" y="4964113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64ED53D-BAF6-4C55-BF7A-C601E78CFF83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5192713" y="4394200"/>
            <a:ext cx="31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B83B832-258D-41DB-9ABA-B0FA8D46034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2166938" y="4826000"/>
            <a:ext cx="31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8" name="Straight Connector 797">
            <a:extLst>
              <a:ext uri="{FF2B5EF4-FFF2-40B4-BE49-F238E27FC236}">
                <a16:creationId xmlns:a16="http://schemas.microsoft.com/office/drawing/2014/main" id="{B409DAA0-142B-4A41-8FC7-BD572E093883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3389313" y="5608638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F07E0BA0-1369-4602-9DCD-FBE94A70529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4184651" y="4538663"/>
            <a:ext cx="31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DEF04EC-CE67-43D1-BDA8-AFD15D8F00BD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157288" y="4965700"/>
            <a:ext cx="3175" cy="3254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7" name="Straight Connector 806">
            <a:extLst>
              <a:ext uri="{FF2B5EF4-FFF2-40B4-BE49-F238E27FC236}">
                <a16:creationId xmlns:a16="http://schemas.microsoft.com/office/drawing/2014/main" id="{917F0EDF-3AFE-44B8-9923-46245AB983E8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H="1">
            <a:off x="1371600" y="5103813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9" name="Straight Connector 808">
            <a:extLst>
              <a:ext uri="{FF2B5EF4-FFF2-40B4-BE49-F238E27FC236}">
                <a16:creationId xmlns:a16="http://schemas.microsoft.com/office/drawing/2014/main" id="{84CE57F2-8B78-4150-9D7D-01E09DFB82EC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 flipH="1">
            <a:off x="4398963" y="4910138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1" name="Straight Connector 790">
            <a:extLst>
              <a:ext uri="{FF2B5EF4-FFF2-40B4-BE49-F238E27FC236}">
                <a16:creationId xmlns:a16="http://schemas.microsoft.com/office/drawing/2014/main" id="{779C32CA-6447-43C0-91D9-D33D9C2B815F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auto">
          <a:xfrm flipH="1">
            <a:off x="2381250" y="5033963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6" name="Straight Connector 795">
            <a:extLst>
              <a:ext uri="{FF2B5EF4-FFF2-40B4-BE49-F238E27FC236}">
                <a16:creationId xmlns:a16="http://schemas.microsoft.com/office/drawing/2014/main" id="{BA1168CF-003B-4A1A-85EA-649914D6E3E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H="1">
            <a:off x="1371600" y="5681663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9" name="Straight Connector 798">
            <a:extLst>
              <a:ext uri="{FF2B5EF4-FFF2-40B4-BE49-F238E27FC236}">
                <a16:creationId xmlns:a16="http://schemas.microsoft.com/office/drawing/2014/main" id="{C0698A99-F5A6-4CF9-B145-CE3D837EB17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4398963" y="5541963"/>
            <a:ext cx="936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 useBgFill="1">
        <p:nvSpPr>
          <p:cNvPr id="470" name="Text Placeholder 13">
            <a:extLst>
              <a:ext uri="{FF2B5EF4-FFF2-40B4-BE49-F238E27FC236}">
                <a16:creationId xmlns:a16="http://schemas.microsoft.com/office/drawing/2014/main" id="{0032F89E-1C30-4268-93E0-DF526C2E6D5D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492625" y="4803775"/>
            <a:ext cx="149225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6E124B-C038-49A2-9066-3E1DDB83C093}" type="datetime'''''''''''''''''''3'''''''">
              <a:rPr lang="en-US" altLang="en-US" sz="1400" smtClean="0">
                <a:effectLst/>
                <a:cs typeface="+mn-cs"/>
              </a:rPr>
              <a:pPr/>
              <a:t>3</a:t>
            </a:fld>
            <a:endParaRPr lang="en-US" sz="1400" dirty="0">
              <a:cs typeface="+mn-cs"/>
            </a:endParaRPr>
          </a:p>
        </p:txBody>
      </p:sp>
      <p:sp>
        <p:nvSpPr>
          <p:cNvPr id="198" name="Text Placeholder 13">
            <a:extLst>
              <a:ext uri="{FF2B5EF4-FFF2-40B4-BE49-F238E27FC236}">
                <a16:creationId xmlns:a16="http://schemas.microsoft.com/office/drawing/2014/main" id="{B4A00E40-C763-4116-9DBF-C5B35503E4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33463" y="47021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E2FDC01-891D-4A0B-8869-88AEFA62A7CD}" type="datetime'''''''''''''''''3''''''''''''''''''5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85" name="Text Placeholder 13">
            <a:extLst>
              <a:ext uri="{FF2B5EF4-FFF2-40B4-BE49-F238E27FC236}">
                <a16:creationId xmlns:a16="http://schemas.microsoft.com/office/drawing/2014/main" id="{D4E9F2B7-12EF-4DB7-BC93-E572B484875D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274763" y="471487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E42EAE-6240-4ADB-93A9-BE24D79A7B15}" type="datetime'''''''''''''''''''''''''''5''''''''''''''''''''''''3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87" name="Text Placeholder 13">
            <a:extLst>
              <a:ext uri="{FF2B5EF4-FFF2-40B4-BE49-F238E27FC236}">
                <a16:creationId xmlns:a16="http://schemas.microsoft.com/office/drawing/2014/main" id="{6E53F921-4A4D-4EEB-9391-EC96D7C560F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292475" y="457993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946762E-B655-4F4F-8D49-4A787BE68E2C}" type="datetime'''''''''''''''''''''''''''''5''''''''''''''''9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9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86" name="Text Placeholder 13">
            <a:extLst>
              <a:ext uri="{FF2B5EF4-FFF2-40B4-BE49-F238E27FC236}">
                <a16:creationId xmlns:a16="http://schemas.microsoft.com/office/drawing/2014/main" id="{577A4773-7744-46E5-B09B-E06ABF56FDF5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284413" y="465772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0367C8-ECDD-4093-AB3B-95B72978F3BB}" type="datetime'''''''''''''5''''''''''5''''''''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5FBD440B-2E57-413D-BC0E-C820524B298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1465262" y="4997450"/>
            <a:ext cx="234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8AF42FC-8237-4A2F-9056-5CEB95F4569F}" type="datetime'''''''''''''''1''1'''''''''''''''''''''''''''''''''''''''''">
              <a:rPr lang="en-US" altLang="en-US" sz="1400" smtClean="0">
                <a:cs typeface="+mn-cs"/>
              </a:rPr>
              <a:pPr/>
              <a:t>11</a:t>
            </a:fld>
            <a:endParaRPr lang="en-US" sz="1400" dirty="0">
              <a:cs typeface="+mn-cs"/>
            </a:endParaRPr>
          </a:p>
        </p:txBody>
      </p:sp>
      <p:sp>
        <p:nvSpPr>
          <p:cNvPr id="188" name="Text Placeholder 13">
            <a:extLst>
              <a:ext uri="{FF2B5EF4-FFF2-40B4-BE49-F238E27FC236}">
                <a16:creationId xmlns:a16="http://schemas.microsoft.com/office/drawing/2014/main" id="{BF556E60-589F-47FA-BAB1-142C37DADE6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84650" y="4603750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416B99-522C-408F-8EA2-F15452C2CA77}" type="datetime'''''''''''''''''''5''''''''''''''8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8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06" name="Text Placeholder 13">
            <a:extLst>
              <a:ext uri="{FF2B5EF4-FFF2-40B4-BE49-F238E27FC236}">
                <a16:creationId xmlns:a16="http://schemas.microsoft.com/office/drawing/2014/main" id="{D46F14EC-BF1C-4A9A-9830-A539348E112C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465263" y="55753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85E8280-D3AE-4304-BC2C-B7145F9C1BEE}" type="datetime'''''''''''''''''''''''''''4''''''''2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2</a:t>
            </a:fld>
            <a:endParaRPr lang="en-US" sz="1400" dirty="0">
              <a:cs typeface="+mn-cs"/>
            </a:endParaRP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43220D17-C7C7-459F-B462-31DBD33995FF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58850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05C711-61E3-41FB-B2DF-8B815DCF0F37}" type="datetime'''2''''''''''''''''''''''''0''''''1''''''9'''''''">
              <a:rPr lang="en-US" altLang="en-US" sz="1400" smtClean="0">
                <a:cs typeface="+mn-cs"/>
              </a:rPr>
              <a:pPr/>
              <a:t>2019</a:t>
            </a:fld>
            <a:endParaRPr lang="en-US" sz="1400" dirty="0">
              <a:cs typeface="+mn-cs"/>
            </a:endParaRPr>
          </a:p>
        </p:txBody>
      </p:sp>
      <p:sp>
        <p:nvSpPr>
          <p:cNvPr id="204" name="Text Placeholder 13">
            <a:extLst>
              <a:ext uri="{FF2B5EF4-FFF2-40B4-BE49-F238E27FC236}">
                <a16:creationId xmlns:a16="http://schemas.microsoft.com/office/drawing/2014/main" id="{F6C1E326-A158-4609-B24C-6A1148EC3D0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2043113" y="45624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6C2DB51-D808-43CC-987F-54B1646CA55B}" type="datetime'''''''4''''''''''''1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1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209" name="Text Placeholder 13">
            <a:extLst>
              <a:ext uri="{FF2B5EF4-FFF2-40B4-BE49-F238E27FC236}">
                <a16:creationId xmlns:a16="http://schemas.microsoft.com/office/drawing/2014/main" id="{DEDC44A7-C88B-464C-852C-1FAC773D2081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2474912" y="49276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4B7BB10-AA3C-4EBE-B804-8FC50A7021D0}" type="datetime'''''''''''1''''''''0'''''''''''''''''''">
              <a:rPr lang="en-US" altLang="en-US" sz="1400" smtClean="0">
                <a:cs typeface="+mn-cs"/>
              </a:rPr>
              <a:pPr/>
              <a:t>10</a:t>
            </a:fld>
            <a:endParaRPr lang="en-US" sz="1400" dirty="0">
              <a:cs typeface="+mn-cs"/>
            </a:endParaRPr>
          </a:p>
        </p:txBody>
      </p:sp>
      <p:sp>
        <p:nvSpPr>
          <p:cNvPr id="210" name="Text Placeholder 13">
            <a:extLst>
              <a:ext uri="{FF2B5EF4-FFF2-40B4-BE49-F238E27FC236}">
                <a16:creationId xmlns:a16="http://schemas.microsoft.com/office/drawing/2014/main" id="{7C18F35E-5B86-4D6E-AEDD-224F1DC9B23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474913" y="55324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5E7585-C349-4D06-8768-EAE881130437}" type="datetime'''''''''''''''''''''''''''4''''''''''''''''''''''''5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5</a:t>
            </a:fld>
            <a:endParaRPr lang="en-US" sz="1400" dirty="0">
              <a:cs typeface="+mn-cs"/>
            </a:endParaRP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25833D2C-CCED-47FB-8648-A8D938240DE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968500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B19FAD-E7AC-489B-B641-3BC9E5946BE5}" type="datetime'''''2''''''''''''''0''''''''2''''''''''''''''''''''0'''">
              <a:rPr lang="en-US" altLang="en-US" sz="1400" smtClean="0">
                <a:cs typeface="+mn-cs"/>
              </a:rPr>
              <a:pPr/>
              <a:t>2020</a:t>
            </a:fld>
            <a:endParaRPr lang="en-US" sz="1400" dirty="0">
              <a:cs typeface="+mn-cs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4BF26460-E56F-466C-B8B3-19BE67EAB795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976563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43AF42-1852-4EC4-B56D-80605DAA8F84}" type="datetime'''''''''''''''''''''''''''''''''''2''''''''0''''''''''2''1'''">
              <a:rPr lang="en-US" altLang="en-US" sz="1400" smtClean="0">
                <a:cs typeface="+mn-cs"/>
              </a:rPr>
              <a:pPr/>
              <a:t>2021</a:t>
            </a:fld>
            <a:endParaRPr lang="en-US" sz="1400" dirty="0">
              <a:cs typeface="+mn-cs"/>
            </a:endParaRPr>
          </a:p>
        </p:txBody>
      </p:sp>
      <p:sp>
        <p:nvSpPr>
          <p:cNvPr id="207" name="Text Placeholder 13">
            <a:extLst>
              <a:ext uri="{FF2B5EF4-FFF2-40B4-BE49-F238E27FC236}">
                <a16:creationId xmlns:a16="http://schemas.microsoft.com/office/drawing/2014/main" id="{E5081213-EB85-4807-BCC1-DEE1C2C006C9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060825" y="4275138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2ED188E-65C0-4A1A-9564-54E20154EE34}" type="datetime'''''''''''''5''''''''''4''''''''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205" name="Text Placeholder 13">
            <a:extLst>
              <a:ext uri="{FF2B5EF4-FFF2-40B4-BE49-F238E27FC236}">
                <a16:creationId xmlns:a16="http://schemas.microsoft.com/office/drawing/2014/main" id="{3072282D-8125-4DFF-94C1-466249D9E04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051175" y="442436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2A9EE2F-ECEA-40EA-A0DE-301E894644B1}" type="datetime'''''''''''''4''''''''''''''''''''''7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7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89" name="Text Placeholder 13">
            <a:extLst>
              <a:ext uri="{FF2B5EF4-FFF2-40B4-BE49-F238E27FC236}">
                <a16:creationId xmlns:a16="http://schemas.microsoft.com/office/drawing/2014/main" id="{D9329BE1-D43A-4589-9FF6-5C90B9AE9E19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192713" y="4508500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512B7C-07AC-430F-BC84-DA960B5D5182}" type="datetime'''''''''''''''''''''6''''''''''''''''''''0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469" name="Text Placeholder 13">
            <a:extLst>
              <a:ext uri="{FF2B5EF4-FFF2-40B4-BE49-F238E27FC236}">
                <a16:creationId xmlns:a16="http://schemas.microsoft.com/office/drawing/2014/main" id="{484F73A0-4779-4510-92DF-6FF2DB47E1D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4492625" y="54356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5F0159-892F-427B-A2A8-5F9B6CF8E72E}" type="datetime'''''''''54''''''''''''''''''''''''''''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4</a:t>
            </a:fld>
            <a:endParaRPr lang="en-US" sz="1400" dirty="0">
              <a:cs typeface="+mn-cs"/>
            </a:endParaRPr>
          </a:p>
        </p:txBody>
      </p:sp>
      <p:sp useBgFill="1">
        <p:nvSpPr>
          <p:cNvPr id="39" name="Text Placeholder 13">
            <a:extLst>
              <a:ext uri="{FF2B5EF4-FFF2-40B4-BE49-F238E27FC236}">
                <a16:creationId xmlns:a16="http://schemas.microsoft.com/office/drawing/2014/main" id="{02708826-5E53-452F-A799-1680D07F3F8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482974" y="4857750"/>
            <a:ext cx="2476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71D29C-7CC5-465E-A270-D8CCC0FD8C80}" type="datetime'''''''''''''''1''''''''''''''''0'''''''''''''">
              <a:rPr lang="en-US" altLang="en-US" sz="1400" smtClean="0">
                <a:effectLst/>
                <a:cs typeface="+mn-cs"/>
              </a:rPr>
              <a:pPr/>
              <a:t>10</a:t>
            </a:fld>
            <a:endParaRPr lang="en-US" sz="1400" dirty="0">
              <a:cs typeface="+mn-cs"/>
            </a:endParaRPr>
          </a:p>
        </p:txBody>
      </p:sp>
      <p:sp>
        <p:nvSpPr>
          <p:cNvPr id="460" name="Text Placeholder 13">
            <a:extLst>
              <a:ext uri="{FF2B5EF4-FFF2-40B4-BE49-F238E27FC236}">
                <a16:creationId xmlns:a16="http://schemas.microsoft.com/office/drawing/2014/main" id="{B351489A-D9E9-4E69-A5A2-E321F049A26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3986213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7613A0-37D0-45CC-BCD8-B49EDD7E1647}" type="datetime'''''''''''''''''''''''2''0''''''22'''''''''''''''''''''">
              <a:rPr lang="en-US" altLang="en-US" sz="1400" smtClean="0">
                <a:cs typeface="+mn-cs"/>
              </a:rPr>
              <a:pPr/>
              <a:t>2022</a:t>
            </a:fld>
            <a:endParaRPr lang="en-US" sz="1400" dirty="0">
              <a:cs typeface="+mn-cs"/>
            </a:endParaRPr>
          </a:p>
        </p:txBody>
      </p:sp>
      <p:sp>
        <p:nvSpPr>
          <p:cNvPr id="472" name="Text Placeholder 13">
            <a:extLst>
              <a:ext uri="{FF2B5EF4-FFF2-40B4-BE49-F238E27FC236}">
                <a16:creationId xmlns:a16="http://schemas.microsoft.com/office/drawing/2014/main" id="{75913C2C-E69B-404F-83BE-8E1294FA6B6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5500688" y="53895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7882F8-20CB-4A0B-B1D5-FCF35BA5567F}" type="datetime'''''''''''''''''''''''''''''''''''''5''''''''''9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9</a:t>
            </a:fld>
            <a:endParaRPr lang="en-US" sz="1400" dirty="0">
              <a:cs typeface="+mn-cs"/>
            </a:endParaRPr>
          </a:p>
        </p:txBody>
      </p:sp>
      <p:sp>
        <p:nvSpPr>
          <p:cNvPr id="473" name="Text Placeholder 13">
            <a:extLst>
              <a:ext uri="{FF2B5EF4-FFF2-40B4-BE49-F238E27FC236}">
                <a16:creationId xmlns:a16="http://schemas.microsoft.com/office/drawing/2014/main" id="{01372EFC-A3E9-4ED2-943E-069559A433A8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5500688" y="473233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A2F3D5-B82F-43A6-B660-47A8E17F9C0D}" type="datetime'''''''''''''''''''''''1''''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400" dirty="0">
              <a:cs typeface="+mn-cs"/>
            </a:endParaRPr>
          </a:p>
        </p:txBody>
      </p:sp>
      <p:sp>
        <p:nvSpPr>
          <p:cNvPr id="208" name="Text Placeholder 13">
            <a:extLst>
              <a:ext uri="{FF2B5EF4-FFF2-40B4-BE49-F238E27FC236}">
                <a16:creationId xmlns:a16="http://schemas.microsoft.com/office/drawing/2014/main" id="{191580FC-B6F4-4586-BC12-470D82723B21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068888" y="41306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986094A-79D0-4DE1-8B6D-70A269D5F13C}" type="datetime'''''''''''''''''''''''''''''''''''6''1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1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211" name="Text Placeholder 13">
            <a:extLst>
              <a:ext uri="{FF2B5EF4-FFF2-40B4-BE49-F238E27FC236}">
                <a16:creationId xmlns:a16="http://schemas.microsoft.com/office/drawing/2014/main" id="{32D3CE61-E1E7-4029-9041-5F70AFE3393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482975" y="55022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27D9AA2-6B96-4C5D-9E8E-6BD2FAD597C2}" type="datetime'''''''''''''''''''''4''''''''''''''''''''''8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en-US" sz="1400" dirty="0">
              <a:cs typeface="+mn-cs"/>
            </a:endParaRPr>
          </a:p>
        </p:txBody>
      </p:sp>
      <p:sp>
        <p:nvSpPr>
          <p:cNvPr id="463" name="Text Placeholder 13">
            <a:extLst>
              <a:ext uri="{FF2B5EF4-FFF2-40B4-BE49-F238E27FC236}">
                <a16:creationId xmlns:a16="http://schemas.microsoft.com/office/drawing/2014/main" id="{F51049BB-C9CF-4617-8087-C99B912604C0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4994275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775FE9-00CD-4FBE-9BB3-ACAB27206862}" type="datetime'''''''2''''''''''''''''''''0''''''''2''''''''''''''''3'''''">
              <a:rPr lang="en-US" altLang="en-US" sz="1400" smtClean="0">
                <a:cs typeface="+mn-cs"/>
              </a:rPr>
              <a:pPr/>
              <a:t>2023</a:t>
            </a:fld>
            <a:endParaRPr lang="en-US" sz="1400" dirty="0"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80848F7-6D4B-41E3-8D62-3F1D242AB112}"/>
              </a:ext>
            </a:extLst>
          </p:cNvPr>
          <p:cNvCxnSpPr/>
          <p:nvPr>
            <p:custDataLst>
              <p:tags r:id="rId49"/>
            </p:custDataLst>
          </p:nvPr>
        </p:nvCxnSpPr>
        <p:spPr bwMode="gray">
          <a:xfrm>
            <a:off x="4689475" y="6489700"/>
            <a:ext cx="266700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5608C460-8532-4F15-8213-870D22BCD48B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8369300" y="6416675"/>
            <a:ext cx="196850" cy="147638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011791BA-8F30-4EF6-ABC3-4BFA8DD2AF4B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6705600" y="6416675"/>
            <a:ext cx="196850" cy="147638"/>
          </a:xfrm>
          <a:prstGeom prst="rect">
            <a:avLst/>
          </a:prstGeom>
          <a:solidFill>
            <a:srgbClr val="FFC90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985DC3A-5FE0-417A-BD20-E61D71EE40F8}"/>
              </a:ext>
            </a:extLst>
          </p:cNvPr>
          <p:cNvCxnSpPr/>
          <p:nvPr>
            <p:custDataLst>
              <p:tags r:id="rId52"/>
            </p:custDataLst>
          </p:nvPr>
        </p:nvCxnSpPr>
        <p:spPr bwMode="gray">
          <a:xfrm flipH="1">
            <a:off x="4057650" y="6489700"/>
            <a:ext cx="266700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28480FB7-965B-4A21-8AD1-3C8D25178032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6705600" y="6635750"/>
            <a:ext cx="196850" cy="147638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FE4DB0F-9175-48D3-9FA2-6242C47AEA9A}"/>
              </a:ext>
            </a:extLst>
          </p:cNvPr>
          <p:cNvSpPr/>
          <p:nvPr>
            <p:custDataLst>
              <p:tags r:id="rId54"/>
            </p:custDataLst>
          </p:nvPr>
        </p:nvSpPr>
        <p:spPr bwMode="auto">
          <a:xfrm>
            <a:off x="8369300" y="6635750"/>
            <a:ext cx="196850" cy="14763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77A0AAF-FD73-45C5-A5DA-D550A7D1DFF3}"/>
              </a:ext>
            </a:extLst>
          </p:cNvPr>
          <p:cNvSpPr/>
          <p:nvPr>
            <p:custDataLst>
              <p:tags r:id="rId55"/>
            </p:custDataLst>
          </p:nvPr>
        </p:nvSpPr>
        <p:spPr bwMode="auto">
          <a:xfrm>
            <a:off x="4778375" y="6635750"/>
            <a:ext cx="196850" cy="147638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9D4DF7E8-7630-4B76-8E04-A09ECF37C42B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4462463" y="6445250"/>
            <a:ext cx="88900" cy="889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02C70CFE-1FF0-4E0E-81AF-F1DEE82C0649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616950" y="6411913"/>
            <a:ext cx="2651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7EF2998-FC77-4B4B-90AA-F85BE689146B}" type="datetime'''''''''''''''''P''''''''T''''''''''''''''''''''''''F'">
              <a:rPr lang="en-US" altLang="en-US" sz="1100" smtClean="0">
                <a:cs typeface="+mn-cs"/>
              </a:rPr>
              <a:pPr/>
              <a:t>PTF</a:t>
            </a:fld>
            <a:endParaRPr lang="en-US" sz="1100" dirty="0">
              <a:cs typeface="+mn-cs"/>
            </a:endParaRP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BAC6DF08-D547-495B-A915-357265C3842A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5026025" y="6411913"/>
            <a:ext cx="3651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F29C90-A9D1-4C7A-8CF9-E64BB8A4DCB1}" type="datetime'''''''''''Co''''''''''ut''''''''''s'''''''''''">
              <a:rPr lang="en-US" altLang="en-US" sz="1100" smtClean="0">
                <a:cs typeface="+mn-cs"/>
              </a:rPr>
              <a:pPr/>
              <a:t>Couts</a:t>
            </a:fld>
            <a:endParaRPr lang="en-US" sz="1100" dirty="0">
              <a:cs typeface="+mn-cs"/>
            </a:endParaRPr>
          </a:p>
        </p:txBody>
      </p:sp>
      <p:sp>
        <p:nvSpPr>
          <p:cNvPr id="62" name="Text Placeholder 13">
            <a:extLst>
              <a:ext uri="{FF2B5EF4-FFF2-40B4-BE49-F238E27FC236}">
                <a16:creationId xmlns:a16="http://schemas.microsoft.com/office/drawing/2014/main" id="{3165BA4C-02E0-43C3-8392-6144B22CAEFF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953250" y="6411913"/>
            <a:ext cx="5746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EF161D4-61FE-488B-B50B-C0A816F3CF83}" type="datetime'''''''M''''''é''''''n''''''''a''''g''''e''''''s'''">
              <a:rPr lang="en-US" altLang="en-US" sz="1100" smtClean="0">
                <a:cs typeface="+mn-cs"/>
              </a:rPr>
              <a:pPr/>
              <a:t>Ménages</a:t>
            </a:fld>
            <a:endParaRPr lang="en-US" sz="1100" dirty="0">
              <a:cs typeface="+mn-cs"/>
            </a:endParaRPr>
          </a:p>
        </p:txBody>
      </p:sp>
      <p:sp>
        <p:nvSpPr>
          <p:cNvPr id="252" name="Text Placeholder 13">
            <a:extLst>
              <a:ext uri="{FF2B5EF4-FFF2-40B4-BE49-F238E27FC236}">
                <a16:creationId xmlns:a16="http://schemas.microsoft.com/office/drawing/2014/main" id="{BBE4243A-95BF-4DD4-B173-4E1CAB8DD46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026025" y="6630988"/>
            <a:ext cx="8382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E4734DD-3110-4874-BE2E-563359E6FD7F}" type="datetime'''''S''''''e''c''t''''''e''u''''r'' ''''''P''''riv''''''''é'''">
              <a:rPr lang="en-US" altLang="en-US" sz="1100" smtClean="0">
                <a:cs typeface="+mn-cs"/>
              </a:rPr>
              <a:pPr/>
              <a:t>Secteur Privé</a:t>
            </a:fld>
            <a:endParaRPr lang="en-US" sz="1100" dirty="0">
              <a:cs typeface="+mn-cs"/>
            </a:endParaRPr>
          </a:p>
        </p:txBody>
      </p:sp>
      <p:sp>
        <p:nvSpPr>
          <p:cNvPr id="63" name="Text Placeholder 13">
            <a:extLst>
              <a:ext uri="{FF2B5EF4-FFF2-40B4-BE49-F238E27FC236}">
                <a16:creationId xmlns:a16="http://schemas.microsoft.com/office/drawing/2014/main" id="{99D34F90-8DE9-4C85-97B8-379D7C59F114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6953250" y="6630988"/>
            <a:ext cx="1873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A7A2A37-5EEC-45EE-80C1-DCEBDDBEC399}" type="datetime'''''''''''''''''''''''''C''''''''T'">
              <a:rPr lang="en-US" altLang="en-US" sz="1100" smtClean="0">
                <a:cs typeface="+mn-cs"/>
              </a:rPr>
              <a:pPr/>
              <a:t>CT</a:t>
            </a:fld>
            <a:endParaRPr lang="en-US" sz="1100" dirty="0">
              <a:cs typeface="+mn-cs"/>
            </a:endParaRP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FEB1878C-39CB-47D0-B0C3-7BAAC38A6CC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616950" y="6630988"/>
            <a:ext cx="2476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F86A1A-CFEC-4400-97B5-960DC1B08D1F}" type="datetime'''''''Et''''''''''''''''''''''a''t'">
              <a:rPr lang="en-US" altLang="en-US" sz="1100" smtClean="0">
                <a:cs typeface="+mn-cs"/>
              </a:rPr>
              <a:pPr/>
              <a:t>Etat</a:t>
            </a:fld>
            <a:endParaRPr lang="en-US" sz="1100" dirty="0">
              <a:cs typeface="+mn-cs"/>
            </a:endParaRPr>
          </a:p>
        </p:txBody>
      </p:sp>
      <p:sp>
        <p:nvSpPr>
          <p:cNvPr id="105" name="Rectangle 104" hidden="1">
            <a:extLst>
              <a:ext uri="{FF2B5EF4-FFF2-40B4-BE49-F238E27FC236}">
                <a16:creationId xmlns:a16="http://schemas.microsoft.com/office/drawing/2014/main" id="{B18A1E4F-DBCA-404A-9A5F-6E8C6CA5B88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241" name="Rectangle 240" hidden="1">
            <a:extLst>
              <a:ext uri="{FF2B5EF4-FFF2-40B4-BE49-F238E27FC236}">
                <a16:creationId xmlns:a16="http://schemas.microsoft.com/office/drawing/2014/main" id="{9DF10661-3725-4C10-8C6F-8AF6278BDBE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282" name="Rectangle 281" hidden="1">
            <a:extLst>
              <a:ext uri="{FF2B5EF4-FFF2-40B4-BE49-F238E27FC236}">
                <a16:creationId xmlns:a16="http://schemas.microsoft.com/office/drawing/2014/main" id="{06BB3930-685A-4F17-9DEA-43423F5C133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graphicFrame>
        <p:nvGraphicFramePr>
          <p:cNvPr id="310" name="Chart 309">
            <a:extLst>
              <a:ext uri="{FF2B5EF4-FFF2-40B4-BE49-F238E27FC236}">
                <a16:creationId xmlns:a16="http://schemas.microsoft.com/office/drawing/2014/main" id="{18E5414D-3352-46D1-A548-50F57BBA86EA}"/>
              </a:ext>
            </a:extLst>
          </p:cNvPr>
          <p:cNvGraphicFramePr/>
          <p:nvPr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4140384988"/>
              </p:ext>
            </p:extLst>
          </p:nvPr>
        </p:nvGraphicFramePr>
        <p:xfrm>
          <a:off x="6702425" y="1665288"/>
          <a:ext cx="5208588" cy="1757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3"/>
          </a:graphicData>
        </a:graphic>
      </p:graphicFrame>
      <p:sp>
        <p:nvSpPr>
          <p:cNvPr id="286" name="Text Placeholder 13">
            <a:extLst>
              <a:ext uri="{FF2B5EF4-FFF2-40B4-BE49-F238E27FC236}">
                <a16:creationId xmlns:a16="http://schemas.microsoft.com/office/drawing/2014/main" id="{1FA472C2-5D28-4EE5-BF60-C9048BE86A1F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6411913" y="2968626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0E0214-B707-464A-BC9E-5A4E6E22AF6E}" type="datetime'''''''''''''''''''''''''5''0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 dirty="0">
              <a:cs typeface="+mn-cs"/>
            </a:endParaRPr>
          </a:p>
        </p:txBody>
      </p:sp>
      <p:sp>
        <p:nvSpPr>
          <p:cNvPr id="499" name="Text Placeholder 13">
            <a:extLst>
              <a:ext uri="{FF2B5EF4-FFF2-40B4-BE49-F238E27FC236}">
                <a16:creationId xmlns:a16="http://schemas.microsoft.com/office/drawing/2014/main" id="{A18892FE-E6E9-4AE1-8B94-119A3C757E23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6510338" y="32337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97E2D6-C2C0-4D1F-B08D-5FD30DC5705B}" type="datetime'''''''''''''''''''''''''''''''''''''''0''''''''''''''''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288" name="Text Placeholder 13">
            <a:extLst>
              <a:ext uri="{FF2B5EF4-FFF2-40B4-BE49-F238E27FC236}">
                <a16:creationId xmlns:a16="http://schemas.microsoft.com/office/drawing/2014/main" id="{BA83D079-CABD-4A3C-875F-9535E7F2EA28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313488" y="1906589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8F379A4-4ADB-4556-B6B9-1CEAAD8A5304}" type="datetime'''''''''25''''''''''''''''''''''''''''''''0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0</a:t>
            </a:fld>
            <a:endParaRPr lang="en-US" sz="1400" dirty="0">
              <a:cs typeface="+mn-cs"/>
            </a:endParaRPr>
          </a:p>
        </p:txBody>
      </p:sp>
      <p:sp>
        <p:nvSpPr>
          <p:cNvPr id="552" name="Text Placeholder 13">
            <a:extLst>
              <a:ext uri="{FF2B5EF4-FFF2-40B4-BE49-F238E27FC236}">
                <a16:creationId xmlns:a16="http://schemas.microsoft.com/office/drawing/2014/main" id="{E431DADB-3F70-4AD6-B8A1-BD71D3BC20E7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6313488" y="2703513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C2EC845-3FD4-480C-A38F-873E8688F16A}" type="datetime'''''''''''''1''''''0''''''0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287" name="Text Placeholder 13">
            <a:extLst>
              <a:ext uri="{FF2B5EF4-FFF2-40B4-BE49-F238E27FC236}">
                <a16:creationId xmlns:a16="http://schemas.microsoft.com/office/drawing/2014/main" id="{2BAEAFB7-5C14-4D64-8456-9F1AABCFA156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6313488" y="2438401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ADD3F9-AC9C-491D-9BD3-A50CD469D813}" type="datetime'''''''''1''5''''''''''''''''''''''''''''''0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0</a:t>
            </a:fld>
            <a:endParaRPr lang="en-US" sz="1400" dirty="0">
              <a:cs typeface="+mn-cs"/>
            </a:endParaRPr>
          </a:p>
        </p:txBody>
      </p:sp>
      <p:sp>
        <p:nvSpPr>
          <p:cNvPr id="554" name="Text Placeholder 13">
            <a:extLst>
              <a:ext uri="{FF2B5EF4-FFF2-40B4-BE49-F238E27FC236}">
                <a16:creationId xmlns:a16="http://schemas.microsoft.com/office/drawing/2014/main" id="{14A80A10-BC2E-4E19-9C21-7F983A606B7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6313488" y="217170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8569ABF-5458-41D2-B158-A122C1B4F3D8}" type="datetime'''''''''2''''''''''''''''''''''''''''''''''0''''0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US" sz="1400" dirty="0">
              <a:cs typeface="+mn-cs"/>
            </a:endParaRPr>
          </a:p>
        </p:txBody>
      </p:sp>
      <p:sp>
        <p:nvSpPr>
          <p:cNvPr id="556" name="Text Placeholder 13">
            <a:extLst>
              <a:ext uri="{FF2B5EF4-FFF2-40B4-BE49-F238E27FC236}">
                <a16:creationId xmlns:a16="http://schemas.microsoft.com/office/drawing/2014/main" id="{18D8653C-A7E1-4ACA-8E1E-3F4BBC5E52D8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6313488" y="1641475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FDD9C03-B026-4039-820A-688A87C70530}" type="datetime'''''''''''3''''''0''''''''''''''''''0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0</a:t>
            </a:fld>
            <a:endParaRPr lang="en-US" sz="1400" dirty="0">
              <a:cs typeface="+mn-cs"/>
            </a:endParaRPr>
          </a:p>
        </p:txBody>
      </p:sp>
      <p:cxnSp>
        <p:nvCxnSpPr>
          <p:cNvPr id="897" name="Straight Connector 896">
            <a:extLst>
              <a:ext uri="{FF2B5EF4-FFF2-40B4-BE49-F238E27FC236}">
                <a16:creationId xmlns:a16="http://schemas.microsoft.com/office/drawing/2014/main" id="{F8B70E7C-EB39-4523-BD0C-ACFAF7D6E716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 flipH="1" flipV="1">
            <a:off x="7497763" y="2392363"/>
            <a:ext cx="93662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9" name="Straight Connector 828">
            <a:extLst>
              <a:ext uri="{FF2B5EF4-FFF2-40B4-BE49-F238E27FC236}">
                <a16:creationId xmlns:a16="http://schemas.microsoft.com/office/drawing/2014/main" id="{657D40AE-525A-4FE6-8748-A840A4A6EA34}"/>
              </a:ext>
            </a:extLst>
          </p:cNvPr>
          <p:cNvCxnSpPr>
            <a:cxnSpLocks/>
          </p:cNvCxnSpPr>
          <p:nvPr>
            <p:custDataLst>
              <p:tags r:id="rId72"/>
            </p:custDataLst>
          </p:nvPr>
        </p:nvCxnSpPr>
        <p:spPr bwMode="auto">
          <a:xfrm flipH="1">
            <a:off x="7497763" y="2209800"/>
            <a:ext cx="93663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3" name="Straight Connector 902">
            <a:extLst>
              <a:ext uri="{FF2B5EF4-FFF2-40B4-BE49-F238E27FC236}">
                <a16:creationId xmlns:a16="http://schemas.microsoft.com/office/drawing/2014/main" id="{4903904C-4006-4498-9267-6AFFE25D0EA5}"/>
              </a:ext>
            </a:extLst>
          </p:cNvPr>
          <p:cNvCxnSpPr>
            <a:cxnSpLocks/>
          </p:cNvCxnSpPr>
          <p:nvPr>
            <p:custDataLst>
              <p:tags r:id="rId73"/>
            </p:custDataLst>
          </p:nvPr>
        </p:nvCxnSpPr>
        <p:spPr bwMode="auto">
          <a:xfrm flipH="1" flipV="1">
            <a:off x="11533188" y="2384425"/>
            <a:ext cx="93662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8" name="Straight Connector 897">
            <a:extLst>
              <a:ext uri="{FF2B5EF4-FFF2-40B4-BE49-F238E27FC236}">
                <a16:creationId xmlns:a16="http://schemas.microsoft.com/office/drawing/2014/main" id="{1B64D7CB-9599-4D6F-9D49-C66AC172E604}"/>
              </a:ext>
            </a:extLst>
          </p:cNvPr>
          <p:cNvCxnSpPr/>
          <p:nvPr>
            <p:custDataLst>
              <p:tags r:id="rId74"/>
            </p:custDataLst>
          </p:nvPr>
        </p:nvCxnSpPr>
        <p:spPr bwMode="auto">
          <a:xfrm flipH="1" flipV="1">
            <a:off x="8507413" y="2127250"/>
            <a:ext cx="93662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74388D-188B-40AD-9A3A-1AF04A1CD911}"/>
              </a:ext>
            </a:extLst>
          </p:cNvPr>
          <p:cNvCxnSpPr>
            <a:cxnSpLocks/>
          </p:cNvCxnSpPr>
          <p:nvPr>
            <p:custDataLst>
              <p:tags r:id="rId75"/>
            </p:custDataLst>
          </p:nvPr>
        </p:nvCxnSpPr>
        <p:spPr bwMode="auto">
          <a:xfrm flipH="1">
            <a:off x="7304088" y="1765300"/>
            <a:ext cx="57150" cy="304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C8D222E-4162-4CA2-95E0-5BB79B2B323A}"/>
              </a:ext>
            </a:extLst>
          </p:cNvPr>
          <p:cNvCxnSpPr>
            <a:cxnSpLocks/>
          </p:cNvCxnSpPr>
          <p:nvPr>
            <p:custDataLst>
              <p:tags r:id="rId76"/>
            </p:custDataLst>
          </p:nvPr>
        </p:nvCxnSpPr>
        <p:spPr bwMode="auto">
          <a:xfrm flipH="1">
            <a:off x="8313738" y="1509713"/>
            <a:ext cx="57150" cy="304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0" name="Straight Connector 829">
            <a:extLst>
              <a:ext uri="{FF2B5EF4-FFF2-40B4-BE49-F238E27FC236}">
                <a16:creationId xmlns:a16="http://schemas.microsoft.com/office/drawing/2014/main" id="{736CB3F1-12EC-45B9-961D-0848C40BDDB6}"/>
              </a:ext>
            </a:extLst>
          </p:cNvPr>
          <p:cNvCxnSpPr>
            <a:cxnSpLocks/>
          </p:cNvCxnSpPr>
          <p:nvPr>
            <p:custDataLst>
              <p:tags r:id="rId77"/>
            </p:custDataLst>
          </p:nvPr>
        </p:nvCxnSpPr>
        <p:spPr bwMode="auto">
          <a:xfrm flipH="1">
            <a:off x="8507413" y="1943100"/>
            <a:ext cx="93663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82CBBD4-015F-457B-88A0-0B1FFE575D57}"/>
              </a:ext>
            </a:extLst>
          </p:cNvPr>
          <p:cNvCxnSpPr>
            <a:cxnSpLocks/>
          </p:cNvCxnSpPr>
          <p:nvPr>
            <p:custDataLst>
              <p:tags r:id="rId78"/>
            </p:custDataLst>
          </p:nvPr>
        </p:nvCxnSpPr>
        <p:spPr bwMode="auto">
          <a:xfrm flipH="1">
            <a:off x="9321800" y="1557338"/>
            <a:ext cx="57150" cy="304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3" name="Straight Connector 832">
            <a:extLst>
              <a:ext uri="{FF2B5EF4-FFF2-40B4-BE49-F238E27FC236}">
                <a16:creationId xmlns:a16="http://schemas.microsoft.com/office/drawing/2014/main" id="{C8C94359-77F7-4F6A-A8CC-064C9101D800}"/>
              </a:ext>
            </a:extLst>
          </p:cNvPr>
          <p:cNvCxnSpPr>
            <a:cxnSpLocks/>
          </p:cNvCxnSpPr>
          <p:nvPr>
            <p:custDataLst>
              <p:tags r:id="rId79"/>
            </p:custDataLst>
          </p:nvPr>
        </p:nvCxnSpPr>
        <p:spPr bwMode="auto">
          <a:xfrm flipH="1">
            <a:off x="11533188" y="2203450"/>
            <a:ext cx="93663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1" name="Straight Connector 830">
            <a:extLst>
              <a:ext uri="{FF2B5EF4-FFF2-40B4-BE49-F238E27FC236}">
                <a16:creationId xmlns:a16="http://schemas.microsoft.com/office/drawing/2014/main" id="{8A9F2C1E-B9C1-45E4-985D-7EDEABED9543}"/>
              </a:ext>
            </a:extLst>
          </p:cNvPr>
          <p:cNvCxnSpPr>
            <a:cxnSpLocks/>
          </p:cNvCxnSpPr>
          <p:nvPr>
            <p:custDataLst>
              <p:tags r:id="rId80"/>
            </p:custDataLst>
          </p:nvPr>
        </p:nvCxnSpPr>
        <p:spPr bwMode="auto">
          <a:xfrm flipH="1" flipV="1">
            <a:off x="9515475" y="1819275"/>
            <a:ext cx="93663" cy="349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9" name="Straight Connector 898">
            <a:extLst>
              <a:ext uri="{FF2B5EF4-FFF2-40B4-BE49-F238E27FC236}">
                <a16:creationId xmlns:a16="http://schemas.microsoft.com/office/drawing/2014/main" id="{7CFA2AB4-BA5B-4712-9D93-F08A143B0252}"/>
              </a:ext>
            </a:extLst>
          </p:cNvPr>
          <p:cNvCxnSpPr/>
          <p:nvPr>
            <p:custDataLst>
              <p:tags r:id="rId81"/>
            </p:custDataLst>
          </p:nvPr>
        </p:nvCxnSpPr>
        <p:spPr bwMode="auto">
          <a:xfrm flipH="1" flipV="1">
            <a:off x="9515475" y="1974850"/>
            <a:ext cx="93663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CF991DD-387E-4067-84A3-C6267227A899}"/>
              </a:ext>
            </a:extLst>
          </p:cNvPr>
          <p:cNvCxnSpPr>
            <a:cxnSpLocks/>
          </p:cNvCxnSpPr>
          <p:nvPr>
            <p:custDataLst>
              <p:tags r:id="rId82"/>
            </p:custDataLst>
          </p:nvPr>
        </p:nvCxnSpPr>
        <p:spPr bwMode="auto">
          <a:xfrm flipH="1">
            <a:off x="11339513" y="1514475"/>
            <a:ext cx="57150" cy="304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FB0E18D-892F-4D3B-86FA-1627024763F9}"/>
              </a:ext>
            </a:extLst>
          </p:cNvPr>
          <p:cNvCxnSpPr>
            <a:cxnSpLocks/>
          </p:cNvCxnSpPr>
          <p:nvPr>
            <p:custDataLst>
              <p:tags r:id="rId83"/>
            </p:custDataLst>
          </p:nvPr>
        </p:nvCxnSpPr>
        <p:spPr bwMode="auto">
          <a:xfrm flipH="1">
            <a:off x="10331450" y="1471613"/>
            <a:ext cx="57150" cy="3048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2" name="Straight Connector 831">
            <a:extLst>
              <a:ext uri="{FF2B5EF4-FFF2-40B4-BE49-F238E27FC236}">
                <a16:creationId xmlns:a16="http://schemas.microsoft.com/office/drawing/2014/main" id="{DAD7F350-3DC9-4B75-B312-B5D6BCE757EA}"/>
              </a:ext>
            </a:extLst>
          </p:cNvPr>
          <p:cNvCxnSpPr>
            <a:cxnSpLocks/>
          </p:cNvCxnSpPr>
          <p:nvPr>
            <p:custDataLst>
              <p:tags r:id="rId84"/>
            </p:custDataLst>
          </p:nvPr>
        </p:nvCxnSpPr>
        <p:spPr bwMode="auto">
          <a:xfrm flipH="1">
            <a:off x="10525125" y="2116138"/>
            <a:ext cx="93663" cy="285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2" name="Straight Connector 901">
            <a:extLst>
              <a:ext uri="{FF2B5EF4-FFF2-40B4-BE49-F238E27FC236}">
                <a16:creationId xmlns:a16="http://schemas.microsoft.com/office/drawing/2014/main" id="{67A311BC-ED91-44D0-9610-B50D59CAF0AA}"/>
              </a:ext>
            </a:extLst>
          </p:cNvPr>
          <p:cNvCxnSpPr/>
          <p:nvPr>
            <p:custDataLst>
              <p:tags r:id="rId85"/>
            </p:custDataLst>
          </p:nvPr>
        </p:nvCxnSpPr>
        <p:spPr bwMode="auto">
          <a:xfrm flipH="1" flipV="1">
            <a:off x="10525125" y="2298700"/>
            <a:ext cx="93663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3" name="Text Placeholder 13">
            <a:extLst>
              <a:ext uri="{FF2B5EF4-FFF2-40B4-BE49-F238E27FC236}">
                <a16:creationId xmlns:a16="http://schemas.microsoft.com/office/drawing/2014/main" id="{CD653A5A-8F48-4F39-A4A7-401C56B828F4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7591425" y="23161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9C78B7E-B03C-4E41-9689-50D4134E406E}" type="datetime'4''''''''''''9'''''">
              <a:rPr lang="en-US" altLang="en-US" sz="1400" smtClean="0">
                <a:cs typeface="+mn-cs"/>
              </a:rPr>
              <a:pPr/>
              <a:t>49</a:t>
            </a:fld>
            <a:endParaRPr lang="en-US" sz="1400" dirty="0">
              <a:cs typeface="+mn-cs"/>
            </a:endParaRPr>
          </a:p>
        </p:txBody>
      </p:sp>
      <p:sp>
        <p:nvSpPr>
          <p:cNvPr id="519" name="Text Placeholder 13">
            <a:extLst>
              <a:ext uri="{FF2B5EF4-FFF2-40B4-BE49-F238E27FC236}">
                <a16:creationId xmlns:a16="http://schemas.microsoft.com/office/drawing/2014/main" id="{254AD5EA-6A56-4E77-9B1D-E1CDE3FE49C9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9182100" y="30511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98347C-C7A3-4316-969D-AF9E741E5FDF}" type="datetime'''''''''''''''''''''''''6''''''''''''''''''''''8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68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58" name="Text Placeholder 13">
            <a:extLst>
              <a:ext uri="{FF2B5EF4-FFF2-40B4-BE49-F238E27FC236}">
                <a16:creationId xmlns:a16="http://schemas.microsoft.com/office/drawing/2014/main" id="{9AB12BCF-1A70-4D7C-B752-9BBFE947C110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7213600" y="2439988"/>
            <a:ext cx="14922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12A3FA-7B79-446D-9AA6-13CA9D42F047}" type="datetime'''''''''''''''''''''''''''''9'''''''''''''''''''''''''''''''">
              <a:rPr lang="en-US" altLang="en-US" sz="1400" smtClean="0">
                <a:effectLst/>
                <a:cs typeface="+mn-cs"/>
              </a:rPr>
              <a:pPr/>
              <a:t>9</a:t>
            </a:fld>
            <a:endParaRPr lang="en-US" sz="1400" dirty="0">
              <a:cs typeface="+mn-cs"/>
            </a:endParaRPr>
          </a:p>
        </p:txBody>
      </p:sp>
      <p:sp>
        <p:nvSpPr>
          <p:cNvPr id="534" name="Text Placeholder 13">
            <a:extLst>
              <a:ext uri="{FF2B5EF4-FFF2-40B4-BE49-F238E27FC236}">
                <a16:creationId xmlns:a16="http://schemas.microsoft.com/office/drawing/2014/main" id="{67D3B845-71F8-4A79-B581-7A07962BD229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gray">
          <a:xfrm>
            <a:off x="7164388" y="26892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067938-E479-4519-8958-165CF7839474}" type="datetime'''8''''''''''''''5'''''''''''''''''''''''''">
              <a:rPr lang="en-US" altLang="en-US" sz="1400" smtClean="0">
                <a:cs typeface="+mn-cs"/>
              </a:rPr>
              <a:pPr/>
              <a:t>85</a:t>
            </a:fld>
            <a:endParaRPr lang="en-US" sz="1400" dirty="0">
              <a:cs typeface="+mn-cs"/>
            </a:endParaRPr>
          </a:p>
        </p:txBody>
      </p:sp>
      <p:sp>
        <p:nvSpPr>
          <p:cNvPr id="520" name="Text Placeholder 13">
            <a:extLst>
              <a:ext uri="{FF2B5EF4-FFF2-40B4-BE49-F238E27FC236}">
                <a16:creationId xmlns:a16="http://schemas.microsoft.com/office/drawing/2014/main" id="{81EFB8C0-75A3-4884-96E6-4E7B4A0373A4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7085013" y="33988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691F58-1759-4434-A168-94F43A95C761}" type="datetime'''''2''''''''''''''''''01''''''''''''''''9'''''">
              <a:rPr lang="en-US" altLang="en-US" sz="1400" smtClean="0">
                <a:cs typeface="+mn-cs"/>
              </a:rPr>
              <a:pPr/>
              <a:t>2019</a:t>
            </a:fld>
            <a:endParaRPr lang="en-US" sz="1400" dirty="0">
              <a:cs typeface="+mn-cs"/>
            </a:endParaRPr>
          </a:p>
        </p:txBody>
      </p:sp>
      <p:sp>
        <p:nvSpPr>
          <p:cNvPr id="837" name="Text Placeholder 13">
            <a:extLst>
              <a:ext uri="{FF2B5EF4-FFF2-40B4-BE49-F238E27FC236}">
                <a16:creationId xmlns:a16="http://schemas.microsoft.com/office/drawing/2014/main" id="{C64DBE57-B9DD-4BE8-BC98-BFC4D9F392AE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8281988" y="1143000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DBC073A-B921-432A-AFC7-7CD7D9CF55EF}" type="datetime'''''''''''''''''''''''''2''''''''''72''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72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840" name="Text Placeholder 13">
            <a:extLst>
              <a:ext uri="{FF2B5EF4-FFF2-40B4-BE49-F238E27FC236}">
                <a16:creationId xmlns:a16="http://schemas.microsoft.com/office/drawing/2014/main" id="{738C1BFD-F998-45F7-95D5-723F92A0C0A3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11307763" y="1147763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7FE0E10-762B-4BBE-9835-38A83057BBA1}" type="datetime'2''''''''''''''''''7''''1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71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 useBgFill="1">
        <p:nvSpPr>
          <p:cNvPr id="561" name="Text Placeholder 13">
            <a:extLst>
              <a:ext uri="{FF2B5EF4-FFF2-40B4-BE49-F238E27FC236}">
                <a16:creationId xmlns:a16="http://schemas.microsoft.com/office/drawing/2014/main" id="{9CB2D4DA-ECB6-4BF2-A9C2-237E4467F9BD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gray">
          <a:xfrm>
            <a:off x="8601075" y="1836738"/>
            <a:ext cx="2476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EF60E1C-A648-4B12-BBFE-CB0273BE739B}" type="datetime'''''''1''''''''0'''''''">
              <a:rPr lang="en-US" altLang="en-US" sz="1400" smtClean="0">
                <a:effectLst/>
                <a:cs typeface="+mn-cs"/>
              </a:rPr>
              <a:pPr/>
              <a:t>10</a:t>
            </a:fld>
            <a:endParaRPr lang="en-US" sz="1400" dirty="0">
              <a:cs typeface="+mn-cs"/>
            </a:endParaRPr>
          </a:p>
        </p:txBody>
      </p:sp>
      <p:sp>
        <p:nvSpPr>
          <p:cNvPr id="524" name="Text Placeholder 13">
            <a:extLst>
              <a:ext uri="{FF2B5EF4-FFF2-40B4-BE49-F238E27FC236}">
                <a16:creationId xmlns:a16="http://schemas.microsoft.com/office/drawing/2014/main" id="{9C4F389B-3E53-4B81-81CF-56C125AA7180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10112375" y="33988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20A34D-D54E-47B2-8363-32EA0C5CF794}" type="datetime'''''20''''''''''2''''''''''''''2'''">
              <a:rPr lang="en-US" altLang="en-US" sz="1400" smtClean="0">
                <a:cs typeface="+mn-cs"/>
              </a:rPr>
              <a:pPr/>
              <a:t>2022</a:t>
            </a:fld>
            <a:endParaRPr lang="en-US" sz="1400" dirty="0">
              <a:cs typeface="+mn-cs"/>
            </a:endParaRPr>
          </a:p>
        </p:txBody>
      </p:sp>
      <p:sp>
        <p:nvSpPr>
          <p:cNvPr id="560" name="Text Placeholder 13">
            <a:extLst>
              <a:ext uri="{FF2B5EF4-FFF2-40B4-BE49-F238E27FC236}">
                <a16:creationId xmlns:a16="http://schemas.microsoft.com/office/drawing/2014/main" id="{F2DA756B-BF31-4F6B-90A9-AED05A12EFC4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8174038" y="2203450"/>
            <a:ext cx="2476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4DFFF7-B68D-4860-AE96-2CB005CD768A}" type="datetime'2''''''''''''''''''''''''''''''0'''">
              <a:rPr lang="en-US" altLang="en-US" sz="1400" smtClean="0">
                <a:effectLst/>
                <a:cs typeface="+mn-cs"/>
              </a:rPr>
              <a:pPr/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525" name="Text Placeholder 13">
            <a:extLst>
              <a:ext uri="{FF2B5EF4-FFF2-40B4-BE49-F238E27FC236}">
                <a16:creationId xmlns:a16="http://schemas.microsoft.com/office/drawing/2014/main" id="{02CDB356-490D-4AB3-A760-CA3839B3925F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11120438" y="33988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E74E46-D6C3-40A1-82D5-551B12DE2FA7}" type="datetime'''''''''''''''''''20''''2''3'''''''''''''''''">
              <a:rPr lang="en-US" altLang="en-US" sz="1400" smtClean="0">
                <a:cs typeface="+mn-cs"/>
              </a:rPr>
              <a:pPr/>
              <a:t>2023</a:t>
            </a:fld>
            <a:endParaRPr lang="en-US" sz="1400" dirty="0">
              <a:cs typeface="+mn-cs"/>
            </a:endParaRPr>
          </a:p>
        </p:txBody>
      </p:sp>
      <p:sp>
        <p:nvSpPr>
          <p:cNvPr id="518" name="Text Placeholder 13">
            <a:extLst>
              <a:ext uri="{FF2B5EF4-FFF2-40B4-BE49-F238E27FC236}">
                <a16:creationId xmlns:a16="http://schemas.microsoft.com/office/drawing/2014/main" id="{BAC39790-5DDD-4752-896D-E62BAB5F253B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8174038" y="30146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682143-1FE7-4221-91E3-9F06692F0F36}" type="datetime'''''''''''8''''''''''''''''''''''''2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82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74" name="Text Placeholder 13">
            <a:extLst>
              <a:ext uri="{FF2B5EF4-FFF2-40B4-BE49-F238E27FC236}">
                <a16:creationId xmlns:a16="http://schemas.microsoft.com/office/drawing/2014/main" id="{46E6F16F-BC61-4EE3-B5FA-D50A63C11AEF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8601075" y="20494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986E95-CB2A-4E3D-A6D2-9342DF7CC8AC}" type="datetime'''''''''''''''''''''''''''''4''''''''''''''''''''''''''''9'''">
              <a:rPr lang="en-US" altLang="en-US" sz="1400" smtClean="0">
                <a:cs typeface="+mn-cs"/>
              </a:rPr>
              <a:pPr/>
              <a:t>49</a:t>
            </a:fld>
            <a:endParaRPr lang="en-US" sz="1400" dirty="0">
              <a:cs typeface="+mn-cs"/>
            </a:endParaRPr>
          </a:p>
        </p:txBody>
      </p:sp>
      <p:sp>
        <p:nvSpPr>
          <p:cNvPr id="530" name="Text Placeholder 13">
            <a:extLst>
              <a:ext uri="{FF2B5EF4-FFF2-40B4-BE49-F238E27FC236}">
                <a16:creationId xmlns:a16="http://schemas.microsoft.com/office/drawing/2014/main" id="{1C3714E8-9D45-4050-BDE4-9536E98F3E97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gray">
          <a:xfrm>
            <a:off x="8124825" y="25273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99C65B-491A-4CE9-A54A-E8E3C59159A1}" type="datetime'''''''''''''''''''''1''''''''02'''">
              <a:rPr lang="en-US" altLang="en-US" sz="1400" smtClean="0">
                <a:cs typeface="+mn-cs"/>
              </a:rPr>
              <a:pPr/>
              <a:t>102</a:t>
            </a:fld>
            <a:endParaRPr lang="en-US" sz="1400" dirty="0">
              <a:cs typeface="+mn-cs"/>
            </a:endParaRPr>
          </a:p>
        </p:txBody>
      </p:sp>
      <p:sp>
        <p:nvSpPr>
          <p:cNvPr id="532" name="Text Placeholder 13">
            <a:extLst>
              <a:ext uri="{FF2B5EF4-FFF2-40B4-BE49-F238E27FC236}">
                <a16:creationId xmlns:a16="http://schemas.microsoft.com/office/drawing/2014/main" id="{5AAAC6A4-AFA6-442A-9725-E1831CC8DD7B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8094663" y="33988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E61EF66-F898-4FCE-B995-42E991D60CA3}" type="datetime'''''''''''''''''''''''''''2''''''0''2''''''''0'''">
              <a:rPr lang="en-US" altLang="en-US" sz="1400" smtClean="0">
                <a:cs typeface="+mn-cs"/>
              </a:rPr>
              <a:pPr/>
              <a:t>2020</a:t>
            </a:fld>
            <a:endParaRPr lang="en-US" sz="1400" dirty="0">
              <a:cs typeface="+mn-cs"/>
            </a:endParaRPr>
          </a:p>
        </p:txBody>
      </p:sp>
      <p:sp useBgFill="1">
        <p:nvSpPr>
          <p:cNvPr id="563" name="Text Placeholder 13">
            <a:extLst>
              <a:ext uri="{FF2B5EF4-FFF2-40B4-BE49-F238E27FC236}">
                <a16:creationId xmlns:a16="http://schemas.microsoft.com/office/drawing/2014/main" id="{5C7155BD-EEAE-4B2A-B125-76BA9F14301B}"/>
              </a:ext>
            </a:extLst>
          </p:cNvPr>
          <p:cNvSpPr>
            <a:spLocks noGrp="1"/>
          </p:cNvSpPr>
          <p:nvPr>
            <p:custDataLst>
              <p:tags r:id="rId101"/>
            </p:custDataLst>
          </p:nvPr>
        </p:nvSpPr>
        <p:spPr bwMode="gray">
          <a:xfrm>
            <a:off x="9609138" y="1747838"/>
            <a:ext cx="2349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7482FC3-60FA-40B5-9B01-C9D414B38974}" type="datetime'''''''''''''''''''''''''''''''''''''''''''''''''''''1''1'''">
              <a:rPr lang="en-US" altLang="en-US" sz="1400" smtClean="0">
                <a:cs typeface="+mn-cs"/>
              </a:rPr>
              <a:pPr/>
              <a:t>11</a:t>
            </a:fld>
            <a:endParaRPr lang="en-US" sz="1400" dirty="0">
              <a:cs typeface="+mn-cs"/>
            </a:endParaRPr>
          </a:p>
        </p:txBody>
      </p:sp>
      <p:sp>
        <p:nvSpPr>
          <p:cNvPr id="199" name="Text Placeholder 13">
            <a:extLst>
              <a:ext uri="{FF2B5EF4-FFF2-40B4-BE49-F238E27FC236}">
                <a16:creationId xmlns:a16="http://schemas.microsoft.com/office/drawing/2014/main" id="{3E0F4754-9D1D-489A-9EAB-6846249A8C69}"/>
              </a:ext>
            </a:extLst>
          </p:cNvPr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6940550" y="1857375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2D92D6-15FB-46D0-A335-244E2692B991}" type="datetime'''''''''''''21''''''''''''''2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1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526" name="Text Placeholder 13">
            <a:extLst>
              <a:ext uri="{FF2B5EF4-FFF2-40B4-BE49-F238E27FC236}">
                <a16:creationId xmlns:a16="http://schemas.microsoft.com/office/drawing/2014/main" id="{23A58561-E08E-4DC5-80B5-325F2345055E}"/>
              </a:ext>
            </a:extLst>
          </p:cNvPr>
          <p:cNvSpPr>
            <a:spLocks noGrp="1"/>
          </p:cNvSpPr>
          <p:nvPr>
            <p:custDataLst>
              <p:tags r:id="rId103"/>
            </p:custDataLst>
          </p:nvPr>
        </p:nvSpPr>
        <p:spPr bwMode="gray">
          <a:xfrm>
            <a:off x="10191750" y="29781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043962-7D5F-422F-BE1C-BDA6C6C040B5}" type="datetime'''9''''''''''''''6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96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17" name="Text Placeholder 13">
            <a:extLst>
              <a:ext uri="{FF2B5EF4-FFF2-40B4-BE49-F238E27FC236}">
                <a16:creationId xmlns:a16="http://schemas.microsoft.com/office/drawing/2014/main" id="{CFB55547-FDDF-40A8-A82B-DA197E9BEDF2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gray">
          <a:xfrm>
            <a:off x="9132888" y="247650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4A673E-9628-4ED4-A486-103DEF38E352}" type="datetime'''''''''''''''''''''''1''''''''4''''''8'''''''''''''''''''''''">
              <a:rPr lang="en-US" altLang="en-US" sz="1400" smtClean="0">
                <a:cs typeface="+mn-cs"/>
              </a:rPr>
              <a:pPr/>
              <a:t>148</a:t>
            </a:fld>
            <a:endParaRPr lang="en-US" sz="1400" dirty="0">
              <a:cs typeface="+mn-cs"/>
            </a:endParaRPr>
          </a:p>
        </p:txBody>
      </p:sp>
      <p:sp>
        <p:nvSpPr>
          <p:cNvPr id="203" name="Text Placeholder 13">
            <a:extLst>
              <a:ext uri="{FF2B5EF4-FFF2-40B4-BE49-F238E27FC236}">
                <a16:creationId xmlns:a16="http://schemas.microsoft.com/office/drawing/2014/main" id="{D03B4E6F-CB1E-458A-AB1D-ADC1632E4190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gray">
          <a:xfrm>
            <a:off x="10910888" y="1930400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1B8A09-6E0A-4239-89B1-7731055A812B}" type="datetime'''''''''''2''''''''''''''''1''''5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1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75" name="Text Placeholder 13">
            <a:extLst>
              <a:ext uri="{FF2B5EF4-FFF2-40B4-BE49-F238E27FC236}">
                <a16:creationId xmlns:a16="http://schemas.microsoft.com/office/drawing/2014/main" id="{CFDE3566-8D9C-4B76-A2EA-1F3A50BEDB69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gray">
          <a:xfrm>
            <a:off x="9609138" y="19605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FD7915-3A7C-4E85-8D86-0DEEA83E2BE3}" type="datetime'''''''''4''''''''''''''''''''''''8'''''''''''">
              <a:rPr lang="en-US" altLang="en-US" sz="1400" smtClean="0">
                <a:cs typeface="+mn-cs"/>
              </a:rPr>
              <a:pPr/>
              <a:t>48</a:t>
            </a:fld>
            <a:endParaRPr lang="en-US" sz="1400" dirty="0">
              <a:cs typeface="+mn-cs"/>
            </a:endParaRPr>
          </a:p>
        </p:txBody>
      </p:sp>
      <p:sp>
        <p:nvSpPr>
          <p:cNvPr id="535" name="Text Placeholder 13">
            <a:extLst>
              <a:ext uri="{FF2B5EF4-FFF2-40B4-BE49-F238E27FC236}">
                <a16:creationId xmlns:a16="http://schemas.microsoft.com/office/drawing/2014/main" id="{9ADE9C96-A86B-4F1B-AC18-28EA9E0F73AA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10191750" y="25606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F8B58E-F02C-4BF3-9DFB-AE31D88E73EA}" type="datetime'''6''''''''''''''''''''2'''''''''''''''''''''''''''''''">
              <a:rPr lang="en-US" altLang="en-US" sz="1400" smtClean="0">
                <a:cs typeface="+mn-cs"/>
              </a:rPr>
              <a:pPr/>
              <a:t>62</a:t>
            </a:fld>
            <a:endParaRPr lang="en-US" sz="1400" dirty="0">
              <a:cs typeface="+mn-cs"/>
            </a:endParaRPr>
          </a:p>
        </p:txBody>
      </p:sp>
      <p:sp>
        <p:nvSpPr>
          <p:cNvPr id="836" name="Text Placeholder 13">
            <a:extLst>
              <a:ext uri="{FF2B5EF4-FFF2-40B4-BE49-F238E27FC236}">
                <a16:creationId xmlns:a16="http://schemas.microsoft.com/office/drawing/2014/main" id="{A54714BC-6446-4075-B779-3D17DCAA6094}"/>
              </a:ext>
            </a:extLst>
          </p:cNvPr>
          <p:cNvSpPr>
            <a:spLocks noGrp="1"/>
          </p:cNvSpPr>
          <p:nvPr>
            <p:custDataLst>
              <p:tags r:id="rId108"/>
            </p:custDataLst>
          </p:nvPr>
        </p:nvSpPr>
        <p:spPr bwMode="gray">
          <a:xfrm>
            <a:off x="7272338" y="1398588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38ABBF-0408-4B68-96DF-914380EE3C53}" type="datetime'''''''''''''''''''''''''2''2''''''''''''''''''''4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24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562" name="Text Placeholder 13">
            <a:extLst>
              <a:ext uri="{FF2B5EF4-FFF2-40B4-BE49-F238E27FC236}">
                <a16:creationId xmlns:a16="http://schemas.microsoft.com/office/drawing/2014/main" id="{B1856768-7A76-4146-A859-5E1135BC9103}"/>
              </a:ext>
            </a:extLst>
          </p:cNvPr>
          <p:cNvSpPr>
            <a:spLocks noGrp="1"/>
          </p:cNvSpPr>
          <p:nvPr>
            <p:custDataLst>
              <p:tags r:id="rId109"/>
            </p:custDataLst>
          </p:nvPr>
        </p:nvSpPr>
        <p:spPr bwMode="gray">
          <a:xfrm>
            <a:off x="9182100" y="2039938"/>
            <a:ext cx="2476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F7781C-A7E1-40A4-87B3-50843B92BC1F}" type="datetime'''''''''''''1''''''''''''''''''''''7'''''''''''''''''''">
              <a:rPr lang="en-US" altLang="en-US" sz="1400" smtClean="0">
                <a:effectLst/>
                <a:cs typeface="+mn-cs"/>
              </a:rPr>
              <a:pPr/>
              <a:t>17</a:t>
            </a:fld>
            <a:endParaRPr lang="en-US" sz="1400" dirty="0">
              <a:cs typeface="+mn-cs"/>
            </a:endParaRPr>
          </a:p>
        </p:txBody>
      </p:sp>
      <p:sp useBgFill="1">
        <p:nvSpPr>
          <p:cNvPr id="202" name="Text Placeholder 13">
            <a:extLst>
              <a:ext uri="{FF2B5EF4-FFF2-40B4-BE49-F238E27FC236}">
                <a16:creationId xmlns:a16="http://schemas.microsoft.com/office/drawing/2014/main" id="{213692EE-F8F6-4369-9458-5FD8A828BBC6}"/>
              </a:ext>
            </a:extLst>
          </p:cNvPr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9902825" y="1843088"/>
            <a:ext cx="366713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FD4427-DA52-4332-B55D-E6529C77668E}" type="datetime'''''''''''''''''''2''3''''''1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31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529" name="Text Placeholder 13">
            <a:extLst>
              <a:ext uri="{FF2B5EF4-FFF2-40B4-BE49-F238E27FC236}">
                <a16:creationId xmlns:a16="http://schemas.microsoft.com/office/drawing/2014/main" id="{8EDCEFC9-8955-40C3-9715-54F75EFE4275}"/>
              </a:ext>
            </a:extLst>
          </p:cNvPr>
          <p:cNvSpPr>
            <a:spLocks noGrp="1"/>
          </p:cNvSpPr>
          <p:nvPr>
            <p:custDataLst>
              <p:tags r:id="rId111"/>
            </p:custDataLst>
          </p:nvPr>
        </p:nvSpPr>
        <p:spPr bwMode="gray">
          <a:xfrm>
            <a:off x="11060113" y="26193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280A66-79AB-40F2-9BC6-F98BB2B5AD55}" type="datetime'''''''''''''''''''''''''''''''''''''''5''''''6'''''''''">
              <a:rPr lang="en-US" altLang="en-US" sz="1400" smtClean="0">
                <a:effectLst/>
                <a:cs typeface="+mn-cs"/>
              </a:rPr>
              <a:pPr/>
              <a:t>56</a:t>
            </a:fld>
            <a:endParaRPr lang="en-US" sz="1400" dirty="0">
              <a:cs typeface="+mn-cs"/>
            </a:endParaRPr>
          </a:p>
        </p:txBody>
      </p:sp>
      <p:sp>
        <p:nvSpPr>
          <p:cNvPr id="839" name="Text Placeholder 13">
            <a:extLst>
              <a:ext uri="{FF2B5EF4-FFF2-40B4-BE49-F238E27FC236}">
                <a16:creationId xmlns:a16="http://schemas.microsoft.com/office/drawing/2014/main" id="{A690741B-72DC-4981-8A2C-47ACC8C06EE8}"/>
              </a:ext>
            </a:extLst>
          </p:cNvPr>
          <p:cNvSpPr>
            <a:spLocks noGrp="1"/>
          </p:cNvSpPr>
          <p:nvPr>
            <p:custDataLst>
              <p:tags r:id="rId112"/>
            </p:custDataLst>
          </p:nvPr>
        </p:nvSpPr>
        <p:spPr bwMode="gray">
          <a:xfrm>
            <a:off x="10299700" y="1104900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6EF0E7-2201-4289-B902-6DE72C2E5661}" type="datetime'''''''''''''2''''7''''''''9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79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567" name="Text Placeholder 13">
            <a:extLst>
              <a:ext uri="{FF2B5EF4-FFF2-40B4-BE49-F238E27FC236}">
                <a16:creationId xmlns:a16="http://schemas.microsoft.com/office/drawing/2014/main" id="{222B38C9-A1AC-418B-A5BC-41B2F7AEE98A}"/>
              </a:ext>
            </a:extLst>
          </p:cNvPr>
          <p:cNvSpPr>
            <a:spLocks noGrp="1"/>
          </p:cNvSpPr>
          <p:nvPr>
            <p:custDataLst>
              <p:tags r:id="rId113"/>
            </p:custDataLst>
          </p:nvPr>
        </p:nvSpPr>
        <p:spPr bwMode="gray">
          <a:xfrm>
            <a:off x="11626850" y="20970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F58858-BA09-4A9D-A9C4-72E7899420D1}" type="datetime'''''''''''''''''''''''''''''''''''''''''''''1''''''''3''''''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559" name="Text Placeholder 13">
            <a:extLst>
              <a:ext uri="{FF2B5EF4-FFF2-40B4-BE49-F238E27FC236}">
                <a16:creationId xmlns:a16="http://schemas.microsoft.com/office/drawing/2014/main" id="{DB30EA7B-7802-4EFA-AE0E-764BEA2461B5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7591426" y="210343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A57C46-13C5-43F8-8147-FDF6EB3628A5}" type="datetime'''''''''''''''''''''''''''''''''''9'''''''">
              <a:rPr lang="en-US" altLang="en-US" sz="1400" smtClean="0">
                <a:effectLst/>
                <a:cs typeface="+mn-cs"/>
              </a:rPr>
              <a:pPr/>
              <a:t>9</a:t>
            </a:fld>
            <a:endParaRPr lang="en-US" sz="1400" dirty="0">
              <a:cs typeface="+mn-cs"/>
            </a:endParaRPr>
          </a:p>
        </p:txBody>
      </p:sp>
      <p:sp>
        <p:nvSpPr>
          <p:cNvPr id="528" name="Text Placeholder 13">
            <a:extLst>
              <a:ext uri="{FF2B5EF4-FFF2-40B4-BE49-F238E27FC236}">
                <a16:creationId xmlns:a16="http://schemas.microsoft.com/office/drawing/2014/main" id="{C1465D10-B6DD-4BF8-BCE0-F16C0C2C095C}"/>
              </a:ext>
            </a:extLst>
          </p:cNvPr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11199813" y="30003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116B0A-799E-4CF0-9CCE-466D0F0C2983}" type="datetime'88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88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65" name="Text Placeholder 13">
            <a:extLst>
              <a:ext uri="{FF2B5EF4-FFF2-40B4-BE49-F238E27FC236}">
                <a16:creationId xmlns:a16="http://schemas.microsoft.com/office/drawing/2014/main" id="{15401799-ADA8-47B1-88DE-8F3C05D8C806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10618788" y="20097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C90111A-64E2-49CF-BB34-DC899FD4C80C}" type="datetime'''''''''''''''''''''''''''''''1''2'''''''''''''''''">
              <a:rPr lang="en-US" altLang="en-US" sz="1400" smtClean="0">
                <a:cs typeface="+mn-cs"/>
              </a:rPr>
              <a:pPr/>
              <a:t>12</a:t>
            </a:fld>
            <a:endParaRPr lang="en-US" sz="1400" dirty="0">
              <a:cs typeface="+mn-cs"/>
            </a:endParaRPr>
          </a:p>
        </p:txBody>
      </p:sp>
      <p:sp>
        <p:nvSpPr>
          <p:cNvPr id="838" name="Text Placeholder 13">
            <a:extLst>
              <a:ext uri="{FF2B5EF4-FFF2-40B4-BE49-F238E27FC236}">
                <a16:creationId xmlns:a16="http://schemas.microsoft.com/office/drawing/2014/main" id="{76E53746-8F37-44D0-8FDC-0F409EEFC607}"/>
              </a:ext>
            </a:extLst>
          </p:cNvPr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9290050" y="1190625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52EF14-50BD-40D2-836D-14B3F0E49457}" type="datetime'''''''''''''2''''''''''''''''''''''''''''''''63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63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522" name="Text Placeholder 13">
            <a:extLst>
              <a:ext uri="{FF2B5EF4-FFF2-40B4-BE49-F238E27FC236}">
                <a16:creationId xmlns:a16="http://schemas.microsoft.com/office/drawing/2014/main" id="{87287995-3F6A-45E1-9F5D-CE42A5C4EF85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9102725" y="33988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9B4E66-D173-4124-824E-B7E133E179D3}" type="datetime'2''''02''''''''1'''''''''''''''''''''''''''''''''''''''''''''">
              <a:rPr lang="en-US" altLang="en-US" sz="1400" smtClean="0">
                <a:cs typeface="+mn-cs"/>
              </a:rPr>
              <a:pPr/>
              <a:t>2021</a:t>
            </a:fld>
            <a:endParaRPr lang="en-US" sz="1400" dirty="0">
              <a:cs typeface="+mn-cs"/>
            </a:endParaRPr>
          </a:p>
        </p:txBody>
      </p:sp>
      <p:sp>
        <p:nvSpPr>
          <p:cNvPr id="277" name="Text Placeholder 13">
            <a:extLst>
              <a:ext uri="{FF2B5EF4-FFF2-40B4-BE49-F238E27FC236}">
                <a16:creationId xmlns:a16="http://schemas.microsoft.com/office/drawing/2014/main" id="{48E2C07F-E098-4CAF-8A41-9CFE09F34636}"/>
              </a:ext>
            </a:extLst>
          </p:cNvPr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10618788" y="22225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EEAD699-098E-4490-98BA-E05A14063F3C}" type="datetime'4''''''''''''''''''''''6'''''''''''">
              <a:rPr lang="en-US" altLang="en-US" sz="1400" smtClean="0">
                <a:cs typeface="+mn-cs"/>
              </a:rPr>
              <a:pPr/>
              <a:t>46</a:t>
            </a:fld>
            <a:endParaRPr lang="en-US" sz="1400" dirty="0">
              <a:cs typeface="+mn-cs"/>
            </a:endParaRPr>
          </a:p>
        </p:txBody>
      </p:sp>
      <p:sp>
        <p:nvSpPr>
          <p:cNvPr id="536" name="Text Placeholder 13">
            <a:extLst>
              <a:ext uri="{FF2B5EF4-FFF2-40B4-BE49-F238E27FC236}">
                <a16:creationId xmlns:a16="http://schemas.microsoft.com/office/drawing/2014/main" id="{36E1FBA1-51DC-430C-BB71-152E0918BBCD}"/>
              </a:ext>
            </a:extLst>
          </p:cNvPr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7164388" y="30734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9A06B7-BD97-4370-A118-0BDF2A5CB81A}" type="datetime'''''''''''''6''''''''''''''''''''''''''''0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60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64" name="Text Placeholder 13">
            <a:extLst>
              <a:ext uri="{FF2B5EF4-FFF2-40B4-BE49-F238E27FC236}">
                <a16:creationId xmlns:a16="http://schemas.microsoft.com/office/drawing/2014/main" id="{B07EA077-3941-41F4-9876-DE0E126DA5EE}"/>
              </a:ext>
            </a:extLst>
          </p:cNvPr>
          <p:cNvSpPr>
            <a:spLocks noGrp="1"/>
          </p:cNvSpPr>
          <p:nvPr>
            <p:custDataLst>
              <p:tags r:id="rId121"/>
            </p:custDataLst>
          </p:nvPr>
        </p:nvSpPr>
        <p:spPr bwMode="gray">
          <a:xfrm>
            <a:off x="10191750" y="2355850"/>
            <a:ext cx="2476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979297-0816-479E-BB92-D88B103404BD}" type="datetime'''''''''''''''''1''5'''''''''''''''''''''''''''''''''''">
              <a:rPr lang="en-US" altLang="en-US" sz="1400" smtClean="0">
                <a:effectLst/>
                <a:cs typeface="+mn-cs"/>
              </a:rPr>
              <a:pPr/>
              <a:t>15</a:t>
            </a:fld>
            <a:endParaRPr lang="en-US" sz="1400" dirty="0">
              <a:cs typeface="+mn-cs"/>
            </a:endParaRPr>
          </a:p>
        </p:txBody>
      </p:sp>
      <p:sp>
        <p:nvSpPr>
          <p:cNvPr id="278" name="Text Placeholder 13">
            <a:extLst>
              <a:ext uri="{FF2B5EF4-FFF2-40B4-BE49-F238E27FC236}">
                <a16:creationId xmlns:a16="http://schemas.microsoft.com/office/drawing/2014/main" id="{D35DC361-2311-421D-A12C-C0BD789C9945}"/>
              </a:ext>
            </a:extLst>
          </p:cNvPr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11626850" y="23098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CD35C12-2FBD-4CF8-A9DF-98BE67C65AD1}" type="datetime'''''4''''''''''''''''''''''3'''''''''''''''''''''''''''''">
              <a:rPr lang="en-US" altLang="en-US" sz="1400" smtClean="0">
                <a:cs typeface="+mn-cs"/>
              </a:rPr>
              <a:pPr/>
              <a:t>43</a:t>
            </a:fld>
            <a:endParaRPr lang="en-US" sz="1400" dirty="0">
              <a:cs typeface="+mn-cs"/>
            </a:endParaRPr>
          </a:p>
        </p:txBody>
      </p:sp>
      <p:sp>
        <p:nvSpPr>
          <p:cNvPr id="566" name="Text Placeholder 13">
            <a:extLst>
              <a:ext uri="{FF2B5EF4-FFF2-40B4-BE49-F238E27FC236}">
                <a16:creationId xmlns:a16="http://schemas.microsoft.com/office/drawing/2014/main" id="{8D524D6E-99E9-476A-8BA4-6A99B2F9EB34}"/>
              </a:ext>
            </a:extLst>
          </p:cNvPr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11341100" y="2432050"/>
            <a:ext cx="24765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B101AC-8778-4BDD-BC10-DD9CC7417F00}" type="datetime'''''''''1''''''''''''''''''''''''''''5'''">
              <a:rPr lang="en-US" altLang="en-US" sz="1400" smtClean="0">
                <a:effectLst/>
                <a:cs typeface="+mn-cs"/>
              </a:rPr>
              <a:pPr/>
              <a:t>15</a:t>
            </a:fld>
            <a:endParaRPr lang="en-US" sz="1400" dirty="0">
              <a:cs typeface="+mn-cs"/>
            </a:endParaRPr>
          </a:p>
        </p:txBody>
      </p:sp>
      <p:sp>
        <p:nvSpPr>
          <p:cNvPr id="200" name="Text Placeholder 13">
            <a:extLst>
              <a:ext uri="{FF2B5EF4-FFF2-40B4-BE49-F238E27FC236}">
                <a16:creationId xmlns:a16="http://schemas.microsoft.com/office/drawing/2014/main" id="{3CC8DB89-2762-4F52-B057-A096E3A6481F}"/>
              </a:ext>
            </a:extLst>
          </p:cNvPr>
          <p:cNvSpPr>
            <a:spLocks noGrp="1"/>
          </p:cNvSpPr>
          <p:nvPr>
            <p:custDataLst>
              <p:tags r:id="rId124"/>
            </p:custDataLst>
          </p:nvPr>
        </p:nvSpPr>
        <p:spPr bwMode="gray">
          <a:xfrm>
            <a:off x="7950200" y="1601788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0B523E-4A7C-4C26-8061-9E4D00AF4415}" type="datetime'''''''''''''2''6''''''''''''3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6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01" name="Text Placeholder 13">
            <a:extLst>
              <a:ext uri="{FF2B5EF4-FFF2-40B4-BE49-F238E27FC236}">
                <a16:creationId xmlns:a16="http://schemas.microsoft.com/office/drawing/2014/main" id="{DBBDF029-26AE-4C5D-B67B-FE56A9553A0B}"/>
              </a:ext>
            </a:extLst>
          </p:cNvPr>
          <p:cNvSpPr>
            <a:spLocks noGrp="1"/>
          </p:cNvSpPr>
          <p:nvPr>
            <p:custDataLst>
              <p:tags r:id="rId125"/>
            </p:custDataLst>
          </p:nvPr>
        </p:nvSpPr>
        <p:spPr bwMode="gray">
          <a:xfrm>
            <a:off x="8926513" y="1520825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97CCD6-D50C-45D4-94D2-985DFDE44607}" type="datetime'''''''2''''''''''''9''''''''''''''''''2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9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graphicFrame>
        <p:nvGraphicFramePr>
          <p:cNvPr id="380" name="Chart 379">
            <a:extLst>
              <a:ext uri="{FF2B5EF4-FFF2-40B4-BE49-F238E27FC236}">
                <a16:creationId xmlns:a16="http://schemas.microsoft.com/office/drawing/2014/main" id="{BCBB9B5A-4D7E-478F-84A1-A04515C3BE82}"/>
              </a:ext>
            </a:extLst>
          </p:cNvPr>
          <p:cNvGraphicFramePr/>
          <p:nvPr>
            <p:custDataLst>
              <p:tags r:id="rId126"/>
            </p:custDataLst>
            <p:extLst>
              <p:ext uri="{D42A27DB-BD31-4B8C-83A1-F6EECF244321}">
                <p14:modId xmlns:p14="http://schemas.microsoft.com/office/powerpoint/2010/main" val="819209669"/>
              </p:ext>
            </p:extLst>
          </p:nvPr>
        </p:nvGraphicFramePr>
        <p:xfrm>
          <a:off x="6761163" y="4479925"/>
          <a:ext cx="5208587" cy="174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4"/>
          </a:graphicData>
        </a:graphic>
      </p:graphicFrame>
      <p:sp>
        <p:nvSpPr>
          <p:cNvPr id="715" name="Text Placeholder 13">
            <a:extLst>
              <a:ext uri="{FF2B5EF4-FFF2-40B4-BE49-F238E27FC236}">
                <a16:creationId xmlns:a16="http://schemas.microsoft.com/office/drawing/2014/main" id="{39BFC8D1-D998-40F2-8D4A-FA2D543500E0}"/>
              </a:ext>
            </a:extLst>
          </p:cNvPr>
          <p:cNvSpPr>
            <a:spLocks noGrp="1"/>
          </p:cNvSpPr>
          <p:nvPr>
            <p:custDataLst>
              <p:tags r:id="rId127"/>
            </p:custDataLst>
          </p:nvPr>
        </p:nvSpPr>
        <p:spPr bwMode="gray">
          <a:xfrm>
            <a:off x="6470650" y="5245100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CCE029D-F03A-4438-B048-C6573EAB2BD3}" type="datetime'''''''''''''3''''''0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 dirty="0">
              <a:cs typeface="+mn-cs"/>
            </a:endParaRPr>
          </a:p>
        </p:txBody>
      </p:sp>
      <p:sp>
        <p:nvSpPr>
          <p:cNvPr id="713" name="Text Placeholder 13">
            <a:extLst>
              <a:ext uri="{FF2B5EF4-FFF2-40B4-BE49-F238E27FC236}">
                <a16:creationId xmlns:a16="http://schemas.microsoft.com/office/drawing/2014/main" id="{AC13FB8D-C7E6-4C12-8893-2DCCDB2CEFB3}"/>
              </a:ext>
            </a:extLst>
          </p:cNvPr>
          <p:cNvSpPr>
            <a:spLocks noGrp="1"/>
          </p:cNvSpPr>
          <p:nvPr>
            <p:custDataLst>
              <p:tags r:id="rId128"/>
            </p:custDataLst>
          </p:nvPr>
        </p:nvSpPr>
        <p:spPr bwMode="gray">
          <a:xfrm>
            <a:off x="6470650" y="55070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594A557-53D5-4831-B8DB-9F9DD80492B4}" type="datetime'''''''''''''2''''''''''0''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711" name="Text Placeholder 13">
            <a:extLst>
              <a:ext uri="{FF2B5EF4-FFF2-40B4-BE49-F238E27FC236}">
                <a16:creationId xmlns:a16="http://schemas.microsoft.com/office/drawing/2014/main" id="{DF1A76A9-A694-452C-BA42-A700514F68B0}"/>
              </a:ext>
            </a:extLst>
          </p:cNvPr>
          <p:cNvSpPr>
            <a:spLocks noGrp="1"/>
          </p:cNvSpPr>
          <p:nvPr>
            <p:custDataLst>
              <p:tags r:id="rId129"/>
            </p:custDataLst>
          </p:nvPr>
        </p:nvSpPr>
        <p:spPr bwMode="gray">
          <a:xfrm>
            <a:off x="6470650" y="57705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CB62AD8-F60F-4A30-AA15-A8957C08C3DB}" type="datetime'''''''''''''''''1''''''''''''''''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cs typeface="+mn-cs"/>
            </a:endParaRPr>
          </a:p>
        </p:txBody>
      </p:sp>
      <p:sp>
        <p:nvSpPr>
          <p:cNvPr id="644" name="Text Placeholder 13">
            <a:extLst>
              <a:ext uri="{FF2B5EF4-FFF2-40B4-BE49-F238E27FC236}">
                <a16:creationId xmlns:a16="http://schemas.microsoft.com/office/drawing/2014/main" id="{13BA6480-F8D5-4CF2-8F90-85CAE06D2D86}"/>
              </a:ext>
            </a:extLst>
          </p:cNvPr>
          <p:cNvSpPr>
            <a:spLocks noGrp="1"/>
          </p:cNvSpPr>
          <p:nvPr>
            <p:custDataLst>
              <p:tags r:id="rId130"/>
            </p:custDataLst>
          </p:nvPr>
        </p:nvSpPr>
        <p:spPr bwMode="gray">
          <a:xfrm>
            <a:off x="6569075" y="603250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D5F6192-E336-46B6-A4DE-93E8FC43DCFB}" type="datetime'''''''''''''''''''0''''''''''''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845" name="Text Placeholder 13">
            <a:extLst>
              <a:ext uri="{FF2B5EF4-FFF2-40B4-BE49-F238E27FC236}">
                <a16:creationId xmlns:a16="http://schemas.microsoft.com/office/drawing/2014/main" id="{6069B531-AD9C-4EBF-8354-CFAAE9277A9D}"/>
              </a:ext>
            </a:extLst>
          </p:cNvPr>
          <p:cNvSpPr>
            <a:spLocks noGrp="1"/>
          </p:cNvSpPr>
          <p:nvPr>
            <p:custDataLst>
              <p:tags r:id="rId131"/>
            </p:custDataLst>
          </p:nvPr>
        </p:nvSpPr>
        <p:spPr bwMode="gray">
          <a:xfrm>
            <a:off x="6470650" y="445611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15123D-970A-42E2-8122-B9CF99CA6E28}" type="datetime'''''''''''''6''''''''''''''''''''''''''''''0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cs typeface="+mn-cs"/>
            </a:endParaRPr>
          </a:p>
        </p:txBody>
      </p:sp>
      <p:sp>
        <p:nvSpPr>
          <p:cNvPr id="717" name="Text Placeholder 13">
            <a:extLst>
              <a:ext uri="{FF2B5EF4-FFF2-40B4-BE49-F238E27FC236}">
                <a16:creationId xmlns:a16="http://schemas.microsoft.com/office/drawing/2014/main" id="{224B4C96-3CBF-4226-BE16-30230F67A3DA}"/>
              </a:ext>
            </a:extLst>
          </p:cNvPr>
          <p:cNvSpPr>
            <a:spLocks noGrp="1"/>
          </p:cNvSpPr>
          <p:nvPr>
            <p:custDataLst>
              <p:tags r:id="rId132"/>
            </p:custDataLst>
          </p:nvPr>
        </p:nvSpPr>
        <p:spPr bwMode="gray">
          <a:xfrm>
            <a:off x="6470650" y="49815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213DCE8-457C-41C0-BEEB-B7C2E85C3B32}" type="datetime'''''4''''''''''''''''''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657" name="Text Placeholder 13">
            <a:extLst>
              <a:ext uri="{FF2B5EF4-FFF2-40B4-BE49-F238E27FC236}">
                <a16:creationId xmlns:a16="http://schemas.microsoft.com/office/drawing/2014/main" id="{1A17AC35-2ED8-45EC-BB9C-A3740FBB1CE5}"/>
              </a:ext>
            </a:extLst>
          </p:cNvPr>
          <p:cNvSpPr>
            <a:spLocks noGrp="1"/>
          </p:cNvSpPr>
          <p:nvPr>
            <p:custDataLst>
              <p:tags r:id="rId133"/>
            </p:custDataLst>
          </p:nvPr>
        </p:nvSpPr>
        <p:spPr bwMode="gray">
          <a:xfrm>
            <a:off x="6470650" y="47196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A689944-03F5-4092-B9AE-B2042148EBD2}" type="datetime'''''''''5''''''''''0'''''''''''''''''''''''''''''''''''''''''">
              <a:rPr lang="en-US" altLang="en-US" sz="1400" smtClean="0">
                <a:cs typeface="+mn-cs"/>
              </a:rPr>
              <a:pPr/>
              <a:t>50</a:t>
            </a:fld>
            <a:endParaRPr lang="en-US" sz="1400" dirty="0">
              <a:cs typeface="+mn-cs"/>
            </a:endParaRPr>
          </a:p>
        </p:txBody>
      </p:sp>
      <p:cxnSp>
        <p:nvCxnSpPr>
          <p:cNvPr id="931" name="Straight Connector 930">
            <a:extLst>
              <a:ext uri="{FF2B5EF4-FFF2-40B4-BE49-F238E27FC236}">
                <a16:creationId xmlns:a16="http://schemas.microsoft.com/office/drawing/2014/main" id="{27AC0420-4088-46D4-96FB-3E41113D7AB2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auto">
          <a:xfrm flipH="1">
            <a:off x="10583863" y="5243513"/>
            <a:ext cx="93662" cy="7143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4" name="Straight Connector 923">
            <a:extLst>
              <a:ext uri="{FF2B5EF4-FFF2-40B4-BE49-F238E27FC236}">
                <a16:creationId xmlns:a16="http://schemas.microsoft.com/office/drawing/2014/main" id="{5B7697C1-D596-4AEE-8AD0-F3ECD90614DB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 flipH="1" flipV="1">
            <a:off x="7556500" y="5445125"/>
            <a:ext cx="93663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5" name="Straight Connector 924">
            <a:extLst>
              <a:ext uri="{FF2B5EF4-FFF2-40B4-BE49-F238E27FC236}">
                <a16:creationId xmlns:a16="http://schemas.microsoft.com/office/drawing/2014/main" id="{26DF7840-CF89-4570-8757-D5AF5E37747B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 flipH="1">
            <a:off x="7556500" y="5324475"/>
            <a:ext cx="93663" cy="920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7" name="Straight Connector 926">
            <a:extLst>
              <a:ext uri="{FF2B5EF4-FFF2-40B4-BE49-F238E27FC236}">
                <a16:creationId xmlns:a16="http://schemas.microsoft.com/office/drawing/2014/main" id="{AB16D275-071A-47B4-A8FA-243A5D770B83}"/>
              </a:ext>
            </a:extLst>
          </p:cNvPr>
          <p:cNvCxnSpPr/>
          <p:nvPr>
            <p:custDataLst>
              <p:tags r:id="rId137"/>
            </p:custDataLst>
          </p:nvPr>
        </p:nvCxnSpPr>
        <p:spPr bwMode="auto">
          <a:xfrm flipH="1">
            <a:off x="8566150" y="5235575"/>
            <a:ext cx="93663" cy="904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2" name="Straight Connector 931">
            <a:extLst>
              <a:ext uri="{FF2B5EF4-FFF2-40B4-BE49-F238E27FC236}">
                <a16:creationId xmlns:a16="http://schemas.microsoft.com/office/drawing/2014/main" id="{11E7111C-7E3B-48AB-B2EB-79FFA80DB271}"/>
              </a:ext>
            </a:extLst>
          </p:cNvPr>
          <p:cNvCxnSpPr/>
          <p:nvPr>
            <p:custDataLst>
              <p:tags r:id="rId138"/>
            </p:custDataLst>
          </p:nvPr>
        </p:nvCxnSpPr>
        <p:spPr bwMode="auto">
          <a:xfrm flipH="1" flipV="1">
            <a:off x="11591925" y="5345113"/>
            <a:ext cx="93663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6" name="Straight Connector 925">
            <a:extLst>
              <a:ext uri="{FF2B5EF4-FFF2-40B4-BE49-F238E27FC236}">
                <a16:creationId xmlns:a16="http://schemas.microsoft.com/office/drawing/2014/main" id="{45FBEF04-7F3C-45EE-B58A-3746358BEE99}"/>
              </a:ext>
            </a:extLst>
          </p:cNvPr>
          <p:cNvCxnSpPr/>
          <p:nvPr>
            <p:custDataLst>
              <p:tags r:id="rId139"/>
            </p:custDataLst>
          </p:nvPr>
        </p:nvCxnSpPr>
        <p:spPr bwMode="auto">
          <a:xfrm flipH="1" flipV="1">
            <a:off x="8566150" y="5357813"/>
            <a:ext cx="93663" cy="90487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9" name="Straight Connector 928">
            <a:extLst>
              <a:ext uri="{FF2B5EF4-FFF2-40B4-BE49-F238E27FC236}">
                <a16:creationId xmlns:a16="http://schemas.microsoft.com/office/drawing/2014/main" id="{6457F11C-3A07-4AD5-BC9F-BA0EECC1D5B7}"/>
              </a:ext>
            </a:extLst>
          </p:cNvPr>
          <p:cNvCxnSpPr/>
          <p:nvPr>
            <p:custDataLst>
              <p:tags r:id="rId140"/>
            </p:custDataLst>
          </p:nvPr>
        </p:nvCxnSpPr>
        <p:spPr bwMode="auto">
          <a:xfrm flipH="1">
            <a:off x="9574213" y="5264150"/>
            <a:ext cx="93662" cy="682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28" name="Straight Connector 927">
            <a:extLst>
              <a:ext uri="{FF2B5EF4-FFF2-40B4-BE49-F238E27FC236}">
                <a16:creationId xmlns:a16="http://schemas.microsoft.com/office/drawing/2014/main" id="{F20A44EA-1D71-4411-A13B-A3F22703EB48}"/>
              </a:ext>
            </a:extLst>
          </p:cNvPr>
          <p:cNvCxnSpPr/>
          <p:nvPr>
            <p:custDataLst>
              <p:tags r:id="rId141"/>
            </p:custDataLst>
          </p:nvPr>
        </p:nvCxnSpPr>
        <p:spPr bwMode="auto">
          <a:xfrm flipH="1" flipV="1">
            <a:off x="9574213" y="5407025"/>
            <a:ext cx="93662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0" name="Straight Connector 929">
            <a:extLst>
              <a:ext uri="{FF2B5EF4-FFF2-40B4-BE49-F238E27FC236}">
                <a16:creationId xmlns:a16="http://schemas.microsoft.com/office/drawing/2014/main" id="{0E41DC1F-6B40-44F8-AC84-2B7C86399C19}"/>
              </a:ext>
            </a:extLst>
          </p:cNvPr>
          <p:cNvCxnSpPr/>
          <p:nvPr>
            <p:custDataLst>
              <p:tags r:id="rId142"/>
            </p:custDataLst>
          </p:nvPr>
        </p:nvCxnSpPr>
        <p:spPr bwMode="auto">
          <a:xfrm flipH="1" flipV="1">
            <a:off x="10583863" y="5383213"/>
            <a:ext cx="93662" cy="730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3" name="Straight Connector 932">
            <a:extLst>
              <a:ext uri="{FF2B5EF4-FFF2-40B4-BE49-F238E27FC236}">
                <a16:creationId xmlns:a16="http://schemas.microsoft.com/office/drawing/2014/main" id="{18F230D3-D94F-46A0-BFBC-0FE7019C33BA}"/>
              </a:ext>
            </a:extLst>
          </p:cNvPr>
          <p:cNvCxnSpPr>
            <a:cxnSpLocks/>
          </p:cNvCxnSpPr>
          <p:nvPr>
            <p:custDataLst>
              <p:tags r:id="rId143"/>
            </p:custDataLst>
          </p:nvPr>
        </p:nvCxnSpPr>
        <p:spPr bwMode="auto">
          <a:xfrm flipH="1">
            <a:off x="11591925" y="5214938"/>
            <a:ext cx="93663" cy="809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8" name="Text Placeholder 13">
            <a:extLst>
              <a:ext uri="{FF2B5EF4-FFF2-40B4-BE49-F238E27FC236}">
                <a16:creationId xmlns:a16="http://schemas.microsoft.com/office/drawing/2014/main" id="{A08F5AE8-D2B0-4B68-BDA5-A36885229EED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10250488" y="56673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839A85-BF98-440F-BC5F-E49B99C942C2}" type="datetime'''''''''''''''''''''''2''''8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8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682" name="Text Placeholder 13">
            <a:extLst>
              <a:ext uri="{FF2B5EF4-FFF2-40B4-BE49-F238E27FC236}">
                <a16:creationId xmlns:a16="http://schemas.microsoft.com/office/drawing/2014/main" id="{FDD186F2-3EDE-440F-B226-027765FA2B1F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9240838" y="56800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15C42A-AD44-4F79-ABBD-23B9BDEF02D3}" type="datetime'''''''''''''''''''''''''2''''''''''''''''''''''''''7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7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19" name="Text Placeholder 13">
            <a:extLst>
              <a:ext uri="{FF2B5EF4-FFF2-40B4-BE49-F238E27FC236}">
                <a16:creationId xmlns:a16="http://schemas.microsoft.com/office/drawing/2014/main" id="{B12A62D5-859E-4BDD-A336-5939AC96E1EA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7650163" y="543083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16D0DA-9388-4546-843A-8893F8E584AE}" type="datetime'''''''''''0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325" name="Text Placeholder 13">
            <a:extLst>
              <a:ext uri="{FF2B5EF4-FFF2-40B4-BE49-F238E27FC236}">
                <a16:creationId xmlns:a16="http://schemas.microsoft.com/office/drawing/2014/main" id="{BECBDCE3-60A5-4138-B21F-916058F3C677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10677525" y="5137150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C9AEB9-BDCD-4AA7-BF19-887D93EEDC57}" type="datetime'''''''''''''''''''''''''''0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685" name="Text Placeholder 13">
            <a:extLst>
              <a:ext uri="{FF2B5EF4-FFF2-40B4-BE49-F238E27FC236}">
                <a16:creationId xmlns:a16="http://schemas.microsoft.com/office/drawing/2014/main" id="{70235DBA-9FEB-4FA4-AA4C-057D3C5F7DF6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7413625" y="5359400"/>
            <a:ext cx="14922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1929DDC-3A5F-4F64-B317-5CBCEFBC41C9}" type="datetime'''''''''''''''''''''''1'''''''''''''''''''''''''''''''''''''">
              <a:rPr lang="en-US" altLang="en-US" sz="1400" smtClean="0">
                <a:effectLst/>
                <a:cs typeface="+mn-cs"/>
              </a:rPr>
              <a:pPr/>
              <a:t>1</a:t>
            </a:fld>
            <a:endParaRPr lang="en-US" sz="1400" dirty="0">
              <a:cs typeface="+mn-cs"/>
            </a:endParaRPr>
          </a:p>
        </p:txBody>
      </p:sp>
      <p:sp>
        <p:nvSpPr>
          <p:cNvPr id="669" name="Text Placeholder 13">
            <a:extLst>
              <a:ext uri="{FF2B5EF4-FFF2-40B4-BE49-F238E27FC236}">
                <a16:creationId xmlns:a16="http://schemas.microsoft.com/office/drawing/2014/main" id="{DC55F4D9-CEC8-4058-8160-AA46F576A4EF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7132638" y="5410200"/>
            <a:ext cx="14922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A28BC2-E6C3-406A-9914-11A042D935D6}" type="datetime'3'''''''''''''''''''''''''''''''''''''''''''''''''''''''''">
              <a:rPr lang="en-US" altLang="en-US" sz="1400" smtClean="0">
                <a:effectLst/>
                <a:cs typeface="+mn-cs"/>
              </a:rPr>
              <a:pPr/>
              <a:t>3</a:t>
            </a:fld>
            <a:endParaRPr lang="en-US" sz="1400" dirty="0">
              <a:cs typeface="+mn-cs"/>
            </a:endParaRPr>
          </a:p>
        </p:txBody>
      </p:sp>
      <p:sp>
        <p:nvSpPr>
          <p:cNvPr id="670" name="Text Placeholder 13">
            <a:extLst>
              <a:ext uri="{FF2B5EF4-FFF2-40B4-BE49-F238E27FC236}">
                <a16:creationId xmlns:a16="http://schemas.microsoft.com/office/drawing/2014/main" id="{BC4D46AB-7031-4E86-84B0-0ACE621152FC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7223125" y="57372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615D921-4FD8-485F-AF31-799B58B4F7DF}" type="datetime'''''''''2''''''''''''''''''''''''''''''''''2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2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750" name="Text Placeholder 13">
            <a:extLst>
              <a:ext uri="{FF2B5EF4-FFF2-40B4-BE49-F238E27FC236}">
                <a16:creationId xmlns:a16="http://schemas.microsoft.com/office/drawing/2014/main" id="{0E367423-A24F-4018-8A0C-2CAB13D8EFA9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11260138" y="4408488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181F2C-1C6D-4D19-9E23-90F00982E5B7}" type="datetime'''''''''''''''''''''''''5''''''''''''''''''''2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2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691" name="Text Placeholder 13">
            <a:extLst>
              <a:ext uri="{FF2B5EF4-FFF2-40B4-BE49-F238E27FC236}">
                <a16:creationId xmlns:a16="http://schemas.microsoft.com/office/drawing/2014/main" id="{26A50CFE-226F-4AD4-949D-65B3C4C76AC3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gray">
          <a:xfrm>
            <a:off x="9150350" y="5251450"/>
            <a:ext cx="14922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61413F-CE65-4960-9E60-7C7DC761645F}" type="datetime'''''''''''''''''''''''''''''''''''''''2'''''''''''''''''''''''">
              <a:rPr lang="en-US" altLang="en-US" sz="1400" smtClean="0">
                <a:effectLst/>
                <a:cs typeface="+mn-cs"/>
              </a:rPr>
              <a:pPr/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666" name="Text Placeholder 13">
            <a:extLst>
              <a:ext uri="{FF2B5EF4-FFF2-40B4-BE49-F238E27FC236}">
                <a16:creationId xmlns:a16="http://schemas.microsoft.com/office/drawing/2014/main" id="{C58FF4D1-3685-4D86-AB45-F3A9C2783753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7143750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92A5D7-1CF1-40E7-8544-50FD42BA2353}" type="datetime'''''''''2''0''''''''''''''''''''''''1''''''''''''''''9'''">
              <a:rPr lang="en-US" altLang="en-US" sz="1400" smtClean="0">
                <a:cs typeface="+mn-cs"/>
              </a:rPr>
              <a:pPr/>
              <a:t>2019</a:t>
            </a:fld>
            <a:endParaRPr lang="en-US" sz="1400" dirty="0">
              <a:cs typeface="+mn-cs"/>
            </a:endParaRPr>
          </a:p>
        </p:txBody>
      </p:sp>
      <p:sp>
        <p:nvSpPr>
          <p:cNvPr id="747" name="Text Placeholder 13">
            <a:extLst>
              <a:ext uri="{FF2B5EF4-FFF2-40B4-BE49-F238E27FC236}">
                <a16:creationId xmlns:a16="http://schemas.microsoft.com/office/drawing/2014/main" id="{2D1112BD-8E52-476F-A495-7636B8C96722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gray">
          <a:xfrm>
            <a:off x="8234363" y="450691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3E5050-9428-4B1C-89F7-9B6E208C0CE9}" type="datetime'''''4''''''''''''''''''''''8''''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8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687" name="Text Placeholder 13">
            <a:extLst>
              <a:ext uri="{FF2B5EF4-FFF2-40B4-BE49-F238E27FC236}">
                <a16:creationId xmlns:a16="http://schemas.microsoft.com/office/drawing/2014/main" id="{7714B4A5-BCEA-451E-92DC-6B9FA974D638}"/>
              </a:ext>
            </a:extLst>
          </p:cNvPr>
          <p:cNvSpPr>
            <a:spLocks noGrp="1"/>
          </p:cNvSpPr>
          <p:nvPr>
            <p:custDataLst>
              <p:tags r:id="rId155"/>
            </p:custDataLst>
          </p:nvPr>
        </p:nvSpPr>
        <p:spPr bwMode="gray">
          <a:xfrm>
            <a:off x="9667875" y="537051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9E0D04-3A95-4CFC-A2C9-51453119E9C7}" type="datetime'''''''''''2''''''''''''''''''''''''''''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678" name="Text Placeholder 13">
            <a:extLst>
              <a:ext uri="{FF2B5EF4-FFF2-40B4-BE49-F238E27FC236}">
                <a16:creationId xmlns:a16="http://schemas.microsoft.com/office/drawing/2014/main" id="{7ED1123B-07AE-467D-8DB5-7509E1C65267}"/>
              </a:ext>
            </a:extLst>
          </p:cNvPr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11179175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7F2DFD-5405-4E08-A084-75D245EA7ADB}" type="datetime'''''''2''''''''''02''''''''''''''''3'">
              <a:rPr lang="en-US" altLang="en-US" sz="1400" smtClean="0">
                <a:cs typeface="+mn-cs"/>
              </a:rPr>
              <a:pPr/>
              <a:t>2023</a:t>
            </a:fld>
            <a:endParaRPr lang="en-US" sz="1400" dirty="0">
              <a:cs typeface="+mn-cs"/>
            </a:endParaRPr>
          </a:p>
        </p:txBody>
      </p:sp>
      <p:sp>
        <p:nvSpPr>
          <p:cNvPr id="322" name="Text Placeholder 13">
            <a:extLst>
              <a:ext uri="{FF2B5EF4-FFF2-40B4-BE49-F238E27FC236}">
                <a16:creationId xmlns:a16="http://schemas.microsoft.com/office/drawing/2014/main" id="{F35527F6-13DB-4AA9-9B49-506492406B9B}"/>
              </a:ext>
            </a:extLst>
          </p:cNvPr>
          <p:cNvSpPr>
            <a:spLocks noGrp="1"/>
          </p:cNvSpPr>
          <p:nvPr>
            <p:custDataLst>
              <p:tags r:id="rId157"/>
            </p:custDataLst>
          </p:nvPr>
        </p:nvSpPr>
        <p:spPr bwMode="gray">
          <a:xfrm>
            <a:off x="8659813" y="512921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7C0197-4DBF-4883-8807-08AE0D298C72}" type="datetime'''2''''''''''''''''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321" name="Text Placeholder 13">
            <a:extLst>
              <a:ext uri="{FF2B5EF4-FFF2-40B4-BE49-F238E27FC236}">
                <a16:creationId xmlns:a16="http://schemas.microsoft.com/office/drawing/2014/main" id="{F4060964-95B1-4CDE-AE8A-4EE8EEBF27DE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gray">
          <a:xfrm>
            <a:off x="8659813" y="534193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20546C-9687-4BA1-9CA1-06436BD6D09B}" type="datetime'''''''''''''''''''''''''''''''''''0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677" name="Text Placeholder 13">
            <a:extLst>
              <a:ext uri="{FF2B5EF4-FFF2-40B4-BE49-F238E27FC236}">
                <a16:creationId xmlns:a16="http://schemas.microsoft.com/office/drawing/2014/main" id="{59BEEFEB-9EC7-43CB-899A-E6F8FEB730AA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gray">
          <a:xfrm>
            <a:off x="11258550" y="56372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403C31-3AC6-4098-88F1-226C271F6903}" type="datetime'''3''''0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0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671" name="Text Placeholder 13">
            <a:extLst>
              <a:ext uri="{FF2B5EF4-FFF2-40B4-BE49-F238E27FC236}">
                <a16:creationId xmlns:a16="http://schemas.microsoft.com/office/drawing/2014/main" id="{0E5A3692-93A3-48CE-8FC4-FB189FA26D49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gray">
          <a:xfrm>
            <a:off x="8142288" y="5343525"/>
            <a:ext cx="14922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27E854-FEA9-4F79-A3CB-570755F2A185}" type="datetime'3'''''''">
              <a:rPr lang="en-US" altLang="en-US" sz="1400" smtClean="0">
                <a:effectLst/>
                <a:cs typeface="+mn-cs"/>
              </a:rPr>
              <a:pPr/>
              <a:t>3</a:t>
            </a:fld>
            <a:endParaRPr lang="en-US" sz="1400" dirty="0">
              <a:cs typeface="+mn-cs"/>
            </a:endParaRPr>
          </a:p>
        </p:txBody>
      </p:sp>
      <p:sp>
        <p:nvSpPr>
          <p:cNvPr id="690" name="Text Placeholder 13">
            <a:extLst>
              <a:ext uri="{FF2B5EF4-FFF2-40B4-BE49-F238E27FC236}">
                <a16:creationId xmlns:a16="http://schemas.microsoft.com/office/drawing/2014/main" id="{B6CF5C04-BEE4-426F-B8D2-2E49480E950D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gray">
          <a:xfrm>
            <a:off x="8423275" y="5281613"/>
            <a:ext cx="14922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F6EF94-3A1F-4A35-BBD6-D704EAA2AF16}" type="datetime'''''''''''''''''''''2'''''''''''''''''''''''''''''''''''''''''">
              <a:rPr lang="en-US" altLang="en-US" sz="1400" smtClean="0">
                <a:effectLst/>
                <a:cs typeface="+mn-cs"/>
              </a:rPr>
              <a:pPr/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672" name="Text Placeholder 13">
            <a:extLst>
              <a:ext uri="{FF2B5EF4-FFF2-40B4-BE49-F238E27FC236}">
                <a16:creationId xmlns:a16="http://schemas.microsoft.com/office/drawing/2014/main" id="{0B9683C8-93EF-4485-A524-27D035822D30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gray">
          <a:xfrm>
            <a:off x="8232775" y="57070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854B25-70BD-490A-95F6-8C96DB739B2B}" type="datetime'''2''''5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5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24" name="Text Placeholder 13">
            <a:extLst>
              <a:ext uri="{FF2B5EF4-FFF2-40B4-BE49-F238E27FC236}">
                <a16:creationId xmlns:a16="http://schemas.microsoft.com/office/drawing/2014/main" id="{4D1E0F68-A53C-4ADE-88DD-354223DD8B88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gray">
          <a:xfrm>
            <a:off x="9431338" y="5192713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5F410D-8014-4623-9265-A92D503DE83A}" type="datetime'''''''''''''''''2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2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673" name="Text Placeholder 13">
            <a:extLst>
              <a:ext uri="{FF2B5EF4-FFF2-40B4-BE49-F238E27FC236}">
                <a16:creationId xmlns:a16="http://schemas.microsoft.com/office/drawing/2014/main" id="{6232084A-7470-4D38-9CA2-EEA63F7EC190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8153400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CE8AD1-9666-4D8B-8525-61099D2A616E}" type="datetime'''''''''2''''''''''0''''''''''''''2''''''''''''''0'''''''''">
              <a:rPr lang="en-US" altLang="en-US" sz="1400" smtClean="0">
                <a:cs typeface="+mn-cs"/>
              </a:rPr>
              <a:pPr/>
              <a:t>2020</a:t>
            </a:fld>
            <a:endParaRPr lang="en-US" sz="1400" dirty="0">
              <a:cs typeface="+mn-cs"/>
            </a:endParaRPr>
          </a:p>
        </p:txBody>
      </p:sp>
      <p:sp>
        <p:nvSpPr>
          <p:cNvPr id="748" name="Text Placeholder 13">
            <a:extLst>
              <a:ext uri="{FF2B5EF4-FFF2-40B4-BE49-F238E27FC236}">
                <a16:creationId xmlns:a16="http://schemas.microsoft.com/office/drawing/2014/main" id="{6F6F4BBC-AD8C-40F2-B232-0BCB797BA6A2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gray">
          <a:xfrm>
            <a:off x="9242425" y="444182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A9F55D9-1DBB-4FFC-8A8E-D9495EE940B4}" type="datetime'50''''''''''''''''''''''''''''''''''''''''''''''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23" name="Text Placeholder 13">
            <a:extLst>
              <a:ext uri="{FF2B5EF4-FFF2-40B4-BE49-F238E27FC236}">
                <a16:creationId xmlns:a16="http://schemas.microsoft.com/office/drawing/2014/main" id="{A4B77811-0B5D-4D45-88C1-B8A0EE2B52C0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gray">
          <a:xfrm>
            <a:off x="9667875" y="515778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0112AB-6393-436A-8010-66FADD59C0B8}" type="datetime'''''''''''''''''''''''''''''0''''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674" name="Text Placeholder 13">
            <a:extLst>
              <a:ext uri="{FF2B5EF4-FFF2-40B4-BE49-F238E27FC236}">
                <a16:creationId xmlns:a16="http://schemas.microsoft.com/office/drawing/2014/main" id="{36346530-7BD9-499A-9227-32F7A9BAEE21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auto">
          <a:xfrm>
            <a:off x="10171113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DF0166-DF65-4789-A1E9-FD65AB157A18}" type="datetime'''''''''''''''''''''20''''2''2'''''''''''''">
              <a:rPr lang="en-US" altLang="en-US" sz="1400" smtClean="0">
                <a:cs typeface="+mn-cs"/>
              </a:rPr>
              <a:pPr/>
              <a:t>2022</a:t>
            </a:fld>
            <a:endParaRPr lang="en-US" sz="1400" dirty="0">
              <a:cs typeface="+mn-cs"/>
            </a:endParaRPr>
          </a:p>
        </p:txBody>
      </p:sp>
      <p:sp>
        <p:nvSpPr>
          <p:cNvPr id="326" name="Text Placeholder 13">
            <a:extLst>
              <a:ext uri="{FF2B5EF4-FFF2-40B4-BE49-F238E27FC236}">
                <a16:creationId xmlns:a16="http://schemas.microsoft.com/office/drawing/2014/main" id="{F91CD072-C24A-4ADF-A929-5ED3B1691256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gray">
          <a:xfrm>
            <a:off x="10440988" y="5170488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EF7A5DD-8661-4F67-B508-1ED2A77BFCB9}" type="datetime'''''''''''''''''''''''''''''''''''''''''''''''''2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2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746" name="Text Placeholder 13">
            <a:extLst>
              <a:ext uri="{FF2B5EF4-FFF2-40B4-BE49-F238E27FC236}">
                <a16:creationId xmlns:a16="http://schemas.microsoft.com/office/drawing/2014/main" id="{CE369763-78C3-448E-9244-2FE3F5CAD78E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gray">
          <a:xfrm>
            <a:off x="7224713" y="46386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5F60661-FDAF-434E-BB57-5A58A479CF42}" type="datetime'''''''''''''''4''''''''''''''''''''3''''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20" name="Text Placeholder 13">
            <a:extLst>
              <a:ext uri="{FF2B5EF4-FFF2-40B4-BE49-F238E27FC236}">
                <a16:creationId xmlns:a16="http://schemas.microsoft.com/office/drawing/2014/main" id="{C6A94316-A8B1-4112-B04C-8D27B5608D8B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gray">
          <a:xfrm>
            <a:off x="7650163" y="521811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3BC270-FCD2-4BCA-A47B-13D0EDD8ABC7}" type="datetime'''''''''''''2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665" name="Text Placeholder 13">
            <a:extLst>
              <a:ext uri="{FF2B5EF4-FFF2-40B4-BE49-F238E27FC236}">
                <a16:creationId xmlns:a16="http://schemas.microsoft.com/office/drawing/2014/main" id="{5048D675-830F-466B-A024-E6FF260EE385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auto">
          <a:xfrm>
            <a:off x="9161463" y="61976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FC46A2-CA08-4404-A13B-8DF96D17C234}" type="datetime'''''''20''2''''''1'''''''''''''''''''''''''''''''">
              <a:rPr lang="en-US" altLang="en-US" sz="1400" smtClean="0">
                <a:cs typeface="+mn-cs"/>
              </a:rPr>
              <a:pPr/>
              <a:t>2021</a:t>
            </a:fld>
            <a:endParaRPr lang="en-US" sz="1400" dirty="0">
              <a:cs typeface="+mn-cs"/>
            </a:endParaRPr>
          </a:p>
        </p:txBody>
      </p:sp>
      <p:sp>
        <p:nvSpPr>
          <p:cNvPr id="749" name="Text Placeholder 13">
            <a:extLst>
              <a:ext uri="{FF2B5EF4-FFF2-40B4-BE49-F238E27FC236}">
                <a16:creationId xmlns:a16="http://schemas.microsoft.com/office/drawing/2014/main" id="{7439733F-6FBB-4BCE-A3C5-75324A841DB7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gray">
          <a:xfrm>
            <a:off x="10252075" y="44481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2C38E6-3F3F-4F41-AB8D-9223D166A8F6}" type="datetime'''''''''''5''''''''''''''''''''''''''''''''''''''''''0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683" name="Text Placeholder 13">
            <a:extLst>
              <a:ext uri="{FF2B5EF4-FFF2-40B4-BE49-F238E27FC236}">
                <a16:creationId xmlns:a16="http://schemas.microsoft.com/office/drawing/2014/main" id="{4ED4834A-9360-4DD6-B202-D6A77BD5624D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gray">
          <a:xfrm>
            <a:off x="10160000" y="5232400"/>
            <a:ext cx="14922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E72D6A-38FD-4D98-9604-BDBA1C0DA9A0}" type="datetime'''''''''''''''''2'''">
              <a:rPr lang="en-US" altLang="en-US" sz="1400" smtClean="0">
                <a:effectLst/>
                <a:cs typeface="+mn-cs"/>
              </a:rPr>
              <a:pPr/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693" name="Text Placeholder 13">
            <a:extLst>
              <a:ext uri="{FF2B5EF4-FFF2-40B4-BE49-F238E27FC236}">
                <a16:creationId xmlns:a16="http://schemas.microsoft.com/office/drawing/2014/main" id="{4EF3135F-7362-4869-9652-BEEB8C6FC7E3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gray">
          <a:xfrm>
            <a:off x="10677525" y="5349875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F0F34A-5E73-4D1F-A570-DE17AC87CD38}" type="datetime'''''''''''''''''''''''''''''''''''''''''''2''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328" name="Text Placeholder 13">
            <a:extLst>
              <a:ext uri="{FF2B5EF4-FFF2-40B4-BE49-F238E27FC236}">
                <a16:creationId xmlns:a16="http://schemas.microsoft.com/office/drawing/2014/main" id="{6FBE70D5-725B-4EC7-95BA-ECA45BBBA9D2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gray">
          <a:xfrm>
            <a:off x="11449050" y="5149850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7127A0-F781-4FF0-A85F-DEA218518BE1}" type="datetime'''''''''''''''''3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27" name="Text Placeholder 13">
            <a:extLst>
              <a:ext uri="{FF2B5EF4-FFF2-40B4-BE49-F238E27FC236}">
                <a16:creationId xmlns:a16="http://schemas.microsoft.com/office/drawing/2014/main" id="{52CEA494-2D8B-49BE-8E0F-6C4573AC447D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gray">
          <a:xfrm>
            <a:off x="11685588" y="5108575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919989-DC51-4CC6-8543-74F5962A5E2D}" type="datetime'''''''''''''''''''''''''''''''0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94" name="Text Placeholder 13">
            <a:extLst>
              <a:ext uri="{FF2B5EF4-FFF2-40B4-BE49-F238E27FC236}">
                <a16:creationId xmlns:a16="http://schemas.microsoft.com/office/drawing/2014/main" id="{59254EE8-2CDA-48C2-938C-AFACBBB668D0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gray">
          <a:xfrm>
            <a:off x="8224838" y="5029200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4997DD-B539-4094-9A03-FB2A23A40EAC}" type="datetime'''''''''''''''''''''''''3''''''''''''''2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3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684" name="Text Placeholder 13">
            <a:extLst>
              <a:ext uri="{FF2B5EF4-FFF2-40B4-BE49-F238E27FC236}">
                <a16:creationId xmlns:a16="http://schemas.microsoft.com/office/drawing/2014/main" id="{50475842-E7CD-4E4F-A5E0-52FC03F0C037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gray">
          <a:xfrm>
            <a:off x="11168063" y="5213350"/>
            <a:ext cx="14922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BB42FA-88E5-41A8-92E8-1CD962CDB356}" type="datetime'''''1'''''''''''''''''''">
              <a:rPr lang="en-US" altLang="en-US" sz="1400" smtClean="0">
                <a:effectLst/>
                <a:cs typeface="+mn-cs"/>
              </a:rPr>
              <a:pPr/>
              <a:t>1</a:t>
            </a:fld>
            <a:endParaRPr lang="en-US" sz="1400" dirty="0">
              <a:cs typeface="+mn-cs"/>
            </a:endParaRPr>
          </a:p>
        </p:txBody>
      </p:sp>
      <p:sp>
        <p:nvSpPr>
          <p:cNvPr id="675" name="Text Placeholder 13">
            <a:extLst>
              <a:ext uri="{FF2B5EF4-FFF2-40B4-BE49-F238E27FC236}">
                <a16:creationId xmlns:a16="http://schemas.microsoft.com/office/drawing/2014/main" id="{A89AE804-97BF-4E57-B9C3-147FCEB89C6E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gray">
          <a:xfrm>
            <a:off x="11685588" y="5321300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2B61319-DD81-4782-8AF8-70B58EF94642}" type="datetime'0''''''''''''''''''''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93" name="Text Placeholder 13">
            <a:extLst>
              <a:ext uri="{FF2B5EF4-FFF2-40B4-BE49-F238E27FC236}">
                <a16:creationId xmlns:a16="http://schemas.microsoft.com/office/drawing/2014/main" id="{A6A50196-AA12-485B-9BBF-77421175142D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gray">
          <a:xfrm>
            <a:off x="7215188" y="511492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314980-BA15-4D36-B7D5-F319B3446D75}" type="datetime'''''''2''''''''''''''''''''''8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8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95" name="Text Placeholder 13">
            <a:extLst>
              <a:ext uri="{FF2B5EF4-FFF2-40B4-BE49-F238E27FC236}">
                <a16:creationId xmlns:a16="http://schemas.microsoft.com/office/drawing/2014/main" id="{A37B4CA1-6698-432F-8FB3-4B5004196068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gray">
          <a:xfrm>
            <a:off x="9232900" y="494823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8A0CA5-F040-4A38-AE1A-3FA2F27FFF2E}" type="datetime'''''''''3''''''''''''''''''''''3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3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96" name="Text Placeholder 13">
            <a:extLst>
              <a:ext uri="{FF2B5EF4-FFF2-40B4-BE49-F238E27FC236}">
                <a16:creationId xmlns:a16="http://schemas.microsoft.com/office/drawing/2014/main" id="{E899DD88-FFD9-4395-904C-4DC938FFC040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gray">
          <a:xfrm>
            <a:off x="10242550" y="492601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857E88-0E1B-4925-BF51-8606BFDE67C7}" type="datetime'''''''''''''''''''''''''''3''''''''''''4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34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97" name="Text Placeholder 13">
            <a:extLst>
              <a:ext uri="{FF2B5EF4-FFF2-40B4-BE49-F238E27FC236}">
                <a16:creationId xmlns:a16="http://schemas.microsoft.com/office/drawing/2014/main" id="{5AFF9C43-DC1E-4EF5-A347-A1CD2D3EE4F2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gray">
          <a:xfrm>
            <a:off x="11250613" y="490537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BCAF36-DE7A-4EBF-A3D9-3013DDD0BBC0}" type="datetime'35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3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772" name="Rectangle 771" hidden="1">
            <a:extLst>
              <a:ext uri="{FF2B5EF4-FFF2-40B4-BE49-F238E27FC236}">
                <a16:creationId xmlns:a16="http://schemas.microsoft.com/office/drawing/2014/main" id="{AF6AA37F-2DA5-4B85-BDAC-6B297B768E9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graphicFrame>
        <p:nvGraphicFramePr>
          <p:cNvPr id="245" name="Chart 244">
            <a:extLst>
              <a:ext uri="{FF2B5EF4-FFF2-40B4-BE49-F238E27FC236}">
                <a16:creationId xmlns:a16="http://schemas.microsoft.com/office/drawing/2014/main" id="{D5F7B710-6B9C-4EC5-BBDD-A3A0A82E5267}"/>
              </a:ext>
            </a:extLst>
          </p:cNvPr>
          <p:cNvGraphicFramePr/>
          <p:nvPr>
            <p:custDataLst>
              <p:tags r:id="rId184"/>
            </p:custDataLst>
            <p:extLst>
              <p:ext uri="{D42A27DB-BD31-4B8C-83A1-F6EECF244321}">
                <p14:modId xmlns:p14="http://schemas.microsoft.com/office/powerpoint/2010/main" val="612127681"/>
              </p:ext>
            </p:extLst>
          </p:nvPr>
        </p:nvGraphicFramePr>
        <p:xfrm>
          <a:off x="1108075" y="1717675"/>
          <a:ext cx="4594225" cy="188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5"/>
          </a:graphicData>
        </a:graphic>
      </p:graphicFrame>
      <p:sp>
        <p:nvSpPr>
          <p:cNvPr id="220" name="Text Placeholder 13">
            <a:extLst>
              <a:ext uri="{FF2B5EF4-FFF2-40B4-BE49-F238E27FC236}">
                <a16:creationId xmlns:a16="http://schemas.microsoft.com/office/drawing/2014/main" id="{33F0D488-F056-4FA9-BDC7-E6BA9EEC7491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gray">
          <a:xfrm>
            <a:off x="5451475" y="2897189"/>
            <a:ext cx="307975" cy="212725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E5C39D-0345-4C8C-9490-85755E18965C}" type="datetime'''1''''%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cs typeface="+mn-cs"/>
            </a:endParaRPr>
          </a:p>
        </p:txBody>
      </p:sp>
      <p:sp>
        <p:nvSpPr>
          <p:cNvPr id="219" name="Text Placeholder 13">
            <a:extLst>
              <a:ext uri="{FF2B5EF4-FFF2-40B4-BE49-F238E27FC236}">
                <a16:creationId xmlns:a16="http://schemas.microsoft.com/office/drawing/2014/main" id="{95A5D79D-2DFD-43D9-AA8F-BE7EF54BE550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gray">
          <a:xfrm>
            <a:off x="5422900" y="2209801"/>
            <a:ext cx="307975" cy="212725"/>
          </a:xfrm>
          <a:prstGeom prst="rect">
            <a:avLst/>
          </a:prstGeom>
          <a:solidFill>
            <a:srgbClr val="C3CFE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53FA99-C7DB-4CF9-BD9B-DDCCF7C5118D}" type="datetime'''''''''''''''''''2''''%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cs typeface="+mn-cs"/>
            </a:endParaRPr>
          </a:p>
        </p:txBody>
      </p:sp>
      <p:sp>
        <p:nvSpPr>
          <p:cNvPr id="882" name="Text Placeholder 13">
            <a:extLst>
              <a:ext uri="{FF2B5EF4-FFF2-40B4-BE49-F238E27FC236}">
                <a16:creationId xmlns:a16="http://schemas.microsoft.com/office/drawing/2014/main" id="{510BCC52-2DBA-4A33-821A-5E66BCB013FB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757238" y="1865313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5B6357-8E24-4AF2-8BDC-4D2D6E3D788C}" type="datetime'''''''''''''''''Et''''''a''''''''''''''''''''''''''t''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884" name="Text Placeholder 13">
            <a:extLst>
              <a:ext uri="{FF2B5EF4-FFF2-40B4-BE49-F238E27FC236}">
                <a16:creationId xmlns:a16="http://schemas.microsoft.com/office/drawing/2014/main" id="{8903FA88-C24D-4C8C-AB93-55CB38FF07DD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auto">
          <a:xfrm>
            <a:off x="738188" y="2209800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13A7B1D-5504-41AE-A707-0BD4F7916944}" type="datetime'''''PT''''''''''''''F''''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182" name="Text Placeholder 13">
            <a:extLst>
              <a:ext uri="{FF2B5EF4-FFF2-40B4-BE49-F238E27FC236}">
                <a16:creationId xmlns:a16="http://schemas.microsoft.com/office/drawing/2014/main" id="{4D935CD3-1361-4993-9032-D23D844E42E4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auto">
          <a:xfrm>
            <a:off x="28575" y="3240088"/>
            <a:ext cx="1044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4EF6E4-33FA-4833-8D84-8850A224B50D}" type="datetime'''''''S''''e''c''''t''''eur'' ''p''''r''''''''''iv''''é''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885" name="Text Placeholder 13">
            <a:extLst>
              <a:ext uri="{FF2B5EF4-FFF2-40B4-BE49-F238E27FC236}">
                <a16:creationId xmlns:a16="http://schemas.microsoft.com/office/drawing/2014/main" id="{6F91BFAD-53C9-4F75-A941-82565C9217D5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836613" y="2552700"/>
            <a:ext cx="236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2B32CA-94EB-4BBC-8249-537DE5A45699}" type="datetime'''''''C''''T'''''''''''''''">
              <a:rPr lang="en-US" altLang="en-US" sz="1400" smtClean="0">
                <a:cs typeface="+mn-cs"/>
              </a:rPr>
              <a:pPr/>
              <a:t>CT</a:t>
            </a:fld>
            <a:endParaRPr lang="en-US" sz="1400" dirty="0">
              <a:cs typeface="+mn-cs"/>
            </a:endParaRPr>
          </a:p>
        </p:txBody>
      </p:sp>
      <p:sp>
        <p:nvSpPr>
          <p:cNvPr id="886" name="Text Placeholder 13">
            <a:extLst>
              <a:ext uri="{FF2B5EF4-FFF2-40B4-BE49-F238E27FC236}">
                <a16:creationId xmlns:a16="http://schemas.microsoft.com/office/drawing/2014/main" id="{899B19DA-6F1E-4EE6-AF6E-54BAF67548A7}"/>
              </a:ext>
            </a:extLst>
          </p:cNvPr>
          <p:cNvSpPr>
            <a:spLocks noGrp="1"/>
          </p:cNvSpPr>
          <p:nvPr>
            <p:custDataLst>
              <p:tags r:id="rId191"/>
            </p:custDataLst>
          </p:nvPr>
        </p:nvSpPr>
        <p:spPr bwMode="auto">
          <a:xfrm>
            <a:off x="344488" y="2897188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4DEB52-87B4-460D-B468-82F93C483C53}" type="datetime'''''''M''''é''''''''''''''''''''''''''''''''n''ag''e''''''''s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891" name="Rectangle 890">
            <a:extLst>
              <a:ext uri="{FF2B5EF4-FFF2-40B4-BE49-F238E27FC236}">
                <a16:creationId xmlns:a16="http://schemas.microsoft.com/office/drawing/2014/main" id="{5344F48A-8372-4640-9278-1203822C780C}"/>
              </a:ext>
            </a:extLst>
          </p:cNvPr>
          <p:cNvSpPr/>
          <p:nvPr>
            <p:custDataLst>
              <p:tags r:id="rId192"/>
            </p:custDataLst>
          </p:nvPr>
        </p:nvSpPr>
        <p:spPr bwMode="auto">
          <a:xfrm>
            <a:off x="2749550" y="3595688"/>
            <a:ext cx="250825" cy="187325"/>
          </a:xfrm>
          <a:prstGeom prst="rect">
            <a:avLst/>
          </a:prstGeom>
          <a:solidFill>
            <a:srgbClr val="4C6C9C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89" name="Rectangle 888">
            <a:extLst>
              <a:ext uri="{FF2B5EF4-FFF2-40B4-BE49-F238E27FC236}">
                <a16:creationId xmlns:a16="http://schemas.microsoft.com/office/drawing/2014/main" id="{417E3C02-6112-4945-868A-4B277ACB4303}"/>
              </a:ext>
            </a:extLst>
          </p:cNvPr>
          <p:cNvSpPr/>
          <p:nvPr>
            <p:custDataLst>
              <p:tags r:id="rId193"/>
            </p:custDataLst>
          </p:nvPr>
        </p:nvSpPr>
        <p:spPr bwMode="auto">
          <a:xfrm>
            <a:off x="1990725" y="3595688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0" name="Rectangle 889">
            <a:extLst>
              <a:ext uri="{FF2B5EF4-FFF2-40B4-BE49-F238E27FC236}">
                <a16:creationId xmlns:a16="http://schemas.microsoft.com/office/drawing/2014/main" id="{216F2C1D-901E-4398-AFF1-E781AB7431C2}"/>
              </a:ext>
            </a:extLst>
          </p:cNvPr>
          <p:cNvSpPr/>
          <p:nvPr>
            <p:custDataLst>
              <p:tags r:id="rId194"/>
            </p:custDataLst>
          </p:nvPr>
        </p:nvSpPr>
        <p:spPr bwMode="auto">
          <a:xfrm>
            <a:off x="3508375" y="3595688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2" name="Text Placeholder 13">
            <a:extLst>
              <a:ext uri="{FF2B5EF4-FFF2-40B4-BE49-F238E27FC236}">
                <a16:creationId xmlns:a16="http://schemas.microsoft.com/office/drawing/2014/main" id="{62C75450-7616-4C70-9E48-34EB7AB73F50}"/>
              </a:ext>
            </a:extLst>
          </p:cNvPr>
          <p:cNvSpPr>
            <a:spLocks noGrp="1"/>
          </p:cNvSpPr>
          <p:nvPr>
            <p:custDataLst>
              <p:tags r:id="rId195"/>
            </p:custDataLst>
          </p:nvPr>
        </p:nvSpPr>
        <p:spPr bwMode="auto">
          <a:xfrm>
            <a:off x="2292350" y="3590925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986E7B-9968-4E93-AB40-CE4C67C97F46}" type="datetime'''''''''''''''''''''''''''''''O''''''S''''''1'''''">
              <a:rPr lang="en-US" altLang="en-US" sz="1400" smtClean="0">
                <a:cs typeface="+mn-cs"/>
              </a:rPr>
              <a:pPr/>
              <a:t>OS1</a:t>
            </a:fld>
            <a:endParaRPr lang="en-US" sz="1400" dirty="0">
              <a:cs typeface="+mn-cs"/>
            </a:endParaRPr>
          </a:p>
        </p:txBody>
      </p:sp>
      <p:sp>
        <p:nvSpPr>
          <p:cNvPr id="893" name="Text Placeholder 13">
            <a:extLst>
              <a:ext uri="{FF2B5EF4-FFF2-40B4-BE49-F238E27FC236}">
                <a16:creationId xmlns:a16="http://schemas.microsoft.com/office/drawing/2014/main" id="{F7E616B8-A939-46E3-9EAB-8227CEFFB928}"/>
              </a:ext>
            </a:extLst>
          </p:cNvPr>
          <p:cNvSpPr>
            <a:spLocks noGrp="1"/>
          </p:cNvSpPr>
          <p:nvPr>
            <p:custDataLst>
              <p:tags r:id="rId196"/>
            </p:custDataLst>
          </p:nvPr>
        </p:nvSpPr>
        <p:spPr bwMode="auto">
          <a:xfrm>
            <a:off x="3051175" y="3590925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6123D1A-E1BE-4594-8D5C-5832904B38AF}" type="datetime'''''''''''''''''''O''''''''''S''''''''''2'''''''''''''">
              <a:rPr lang="en-US" altLang="en-US" sz="1400" smtClean="0">
                <a:cs typeface="+mn-cs"/>
              </a:rPr>
              <a:pPr/>
              <a:t>OS2</a:t>
            </a:fld>
            <a:endParaRPr lang="en-US" sz="1400" dirty="0">
              <a:cs typeface="+mn-cs"/>
            </a:endParaRPr>
          </a:p>
        </p:txBody>
      </p:sp>
      <p:sp>
        <p:nvSpPr>
          <p:cNvPr id="894" name="Text Placeholder 13">
            <a:extLst>
              <a:ext uri="{FF2B5EF4-FFF2-40B4-BE49-F238E27FC236}">
                <a16:creationId xmlns:a16="http://schemas.microsoft.com/office/drawing/2014/main" id="{EE94CA04-C7A2-429C-AF82-AAD853D5EDCA}"/>
              </a:ext>
            </a:extLst>
          </p:cNvPr>
          <p:cNvSpPr>
            <a:spLocks noGrp="1"/>
          </p:cNvSpPr>
          <p:nvPr>
            <p:custDataLst>
              <p:tags r:id="rId197"/>
            </p:custDataLst>
          </p:nvPr>
        </p:nvSpPr>
        <p:spPr bwMode="auto">
          <a:xfrm>
            <a:off x="3810000" y="3590925"/>
            <a:ext cx="3556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4B797BE-413A-4132-ABA8-4684B7BE6FA1}" type="datetime'''''O''''''''''''''''S''''''''''''''''''3'''''''''''''''''">
              <a:rPr lang="en-US" altLang="en-US" sz="1400" smtClean="0">
                <a:cs typeface="+mn-cs"/>
              </a:rPr>
              <a:pPr/>
              <a:t>OS3</a:t>
            </a:fld>
            <a:endParaRPr lang="en-US" sz="1400" dirty="0">
              <a:cs typeface="+mn-cs"/>
            </a:endParaRPr>
          </a:p>
        </p:txBody>
      </p:sp>
      <p:cxnSp>
        <p:nvCxnSpPr>
          <p:cNvPr id="900" name="Straight Connector 899">
            <a:extLst>
              <a:ext uri="{FF2B5EF4-FFF2-40B4-BE49-F238E27FC236}">
                <a16:creationId xmlns:a16="http://schemas.microsoft.com/office/drawing/2014/main" id="{8FA31A77-011E-4DE6-ACE7-126C4CB5E9C2}"/>
              </a:ext>
            </a:extLst>
          </p:cNvPr>
          <p:cNvCxnSpPr>
            <a:cxnSpLocks/>
          </p:cNvCxnSpPr>
          <p:nvPr/>
        </p:nvCxnSpPr>
        <p:spPr>
          <a:xfrm flipH="1">
            <a:off x="6077683" y="1306513"/>
            <a:ext cx="8792" cy="50856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1" name="Straight Connector 900">
            <a:extLst>
              <a:ext uri="{FF2B5EF4-FFF2-40B4-BE49-F238E27FC236}">
                <a16:creationId xmlns:a16="http://schemas.microsoft.com/office/drawing/2014/main" id="{EAC4B5CA-5CC3-4DA0-BD6A-A1A78F82791C}"/>
              </a:ext>
            </a:extLst>
          </p:cNvPr>
          <p:cNvCxnSpPr>
            <a:cxnSpLocks/>
          </p:cNvCxnSpPr>
          <p:nvPr/>
        </p:nvCxnSpPr>
        <p:spPr>
          <a:xfrm flipH="1">
            <a:off x="800100" y="4029075"/>
            <a:ext cx="1086802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4" name="Rectangle 903" hidden="1">
            <a:extLst>
              <a:ext uri="{FF2B5EF4-FFF2-40B4-BE49-F238E27FC236}">
                <a16:creationId xmlns:a16="http://schemas.microsoft.com/office/drawing/2014/main" id="{C7E1EFAF-F3FC-42EA-B58F-BB6C7C547A9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935" name="TextBox 934">
            <a:extLst>
              <a:ext uri="{FF2B5EF4-FFF2-40B4-BE49-F238E27FC236}">
                <a16:creationId xmlns:a16="http://schemas.microsoft.com/office/drawing/2014/main" id="{34771B99-0688-49E0-9CE9-BAB5DE27AD3A}"/>
              </a:ext>
            </a:extLst>
          </p:cNvPr>
          <p:cNvSpPr txBox="1"/>
          <p:nvPr/>
        </p:nvSpPr>
        <p:spPr>
          <a:xfrm>
            <a:off x="293602" y="6356630"/>
            <a:ext cx="37962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/>
              <a:t>OS1. Renforcement de la gouvernance et du financement </a:t>
            </a:r>
            <a:endParaRPr lang="en-US" sz="1400" b="1" dirty="0"/>
          </a:p>
        </p:txBody>
      </p:sp>
      <p:sp>
        <p:nvSpPr>
          <p:cNvPr id="157" name="TextBox 156">
            <a:extLst>
              <a:ext uri="{FF2B5EF4-FFF2-40B4-BE49-F238E27FC236}">
                <a16:creationId xmlns:a16="http://schemas.microsoft.com/office/drawing/2014/main" id="{3E7C7731-412D-4C74-BA96-CF49EF8F6F11}"/>
              </a:ext>
            </a:extLst>
          </p:cNvPr>
          <p:cNvSpPr txBox="1"/>
          <p:nvPr/>
        </p:nvSpPr>
        <p:spPr>
          <a:xfrm>
            <a:off x="1600518" y="4111684"/>
            <a:ext cx="27193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p pour le OS1 (2019-2023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2E92EA8F-91F1-4BB1-9511-A34898BFF160}"/>
              </a:ext>
            </a:extLst>
          </p:cNvPr>
          <p:cNvSpPr txBox="1"/>
          <p:nvPr/>
        </p:nvSpPr>
        <p:spPr>
          <a:xfrm>
            <a:off x="1190626" y="1036414"/>
            <a:ext cx="421004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par OS et par source de financement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5" name="Title 2">
            <a:extLst>
              <a:ext uri="{FF2B5EF4-FFF2-40B4-BE49-F238E27FC236}">
                <a16:creationId xmlns:a16="http://schemas.microsoft.com/office/drawing/2014/main" id="{C9EA4D36-D445-49AD-8347-BE8F1D1AD161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 des gaps de financement du PNDSS par orientation stratégique par source de financement et par année (2019-2023)</a:t>
            </a: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912808E0-6E65-45FC-A747-AFB42AC99BD4}"/>
              </a:ext>
            </a:extLst>
          </p:cNvPr>
          <p:cNvSpPr txBox="1"/>
          <p:nvPr/>
        </p:nvSpPr>
        <p:spPr>
          <a:xfrm>
            <a:off x="7754736" y="988318"/>
            <a:ext cx="27193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p pour le OS2 (2019-2023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79A464D-98DB-4473-87BA-2CC8F93F29E8}"/>
              </a:ext>
            </a:extLst>
          </p:cNvPr>
          <p:cNvSpPr txBox="1"/>
          <p:nvPr/>
        </p:nvSpPr>
        <p:spPr>
          <a:xfrm>
            <a:off x="7603331" y="4100611"/>
            <a:ext cx="27193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ap pour le OS3 (2019-2023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5D4DA933-16AD-42FC-8869-06C193D8523D}"/>
              </a:ext>
            </a:extLst>
          </p:cNvPr>
          <p:cNvSpPr txBox="1"/>
          <p:nvPr/>
        </p:nvSpPr>
        <p:spPr>
          <a:xfrm>
            <a:off x="9617075" y="3641387"/>
            <a:ext cx="2484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/>
              <a:t>OS2. Offre de services de santé </a:t>
            </a:r>
            <a:endParaRPr lang="en-US" sz="1400" b="1" dirty="0"/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ABB00973-56BD-49A9-AA9B-EC453D1B35F6}"/>
              </a:ext>
            </a:extLst>
          </p:cNvPr>
          <p:cNvSpPr txBox="1"/>
          <p:nvPr/>
        </p:nvSpPr>
        <p:spPr>
          <a:xfrm>
            <a:off x="10087192" y="6392169"/>
            <a:ext cx="25490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/>
              <a:t>OS3. </a:t>
            </a:r>
            <a:r>
              <a:rPr lang="fr-FR" sz="1400" b="1" u="none" strike="noStrike" dirty="0">
                <a:solidFill>
                  <a:schemeClr val="tx1"/>
                </a:solidFill>
                <a:effectLst/>
              </a:rPr>
              <a:t>Promotion de la protection sociale</a:t>
            </a:r>
            <a:endParaRPr lang="en-US" sz="1400" b="1" dirty="0"/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88787C85-70AF-425C-B301-76252564065B}"/>
              </a:ext>
            </a:extLst>
          </p:cNvPr>
          <p:cNvSpPr txBox="1"/>
          <p:nvPr/>
        </p:nvSpPr>
        <p:spPr>
          <a:xfrm>
            <a:off x="5991715" y="1510113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27697ACD-CEF0-4ABE-84E8-EAE1001F2D99}"/>
              </a:ext>
            </a:extLst>
          </p:cNvPr>
          <p:cNvSpPr txBox="1"/>
          <p:nvPr/>
        </p:nvSpPr>
        <p:spPr>
          <a:xfrm>
            <a:off x="6077683" y="4314039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BE566B8E-A4D2-466F-BBB8-8B19D18388B1}"/>
              </a:ext>
            </a:extLst>
          </p:cNvPr>
          <p:cNvSpPr txBox="1"/>
          <p:nvPr/>
        </p:nvSpPr>
        <p:spPr>
          <a:xfrm>
            <a:off x="-62565" y="4166794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</p:spTree>
    <p:extLst>
      <p:ext uri="{BB962C8B-B14F-4D97-AF65-F5344CB8AC3E}">
        <p14:creationId xmlns:p14="http://schemas.microsoft.com/office/powerpoint/2010/main" val="20047722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ZoneTexte 56">
            <a:extLst>
              <a:ext uri="{FF2B5EF4-FFF2-40B4-BE49-F238E27FC236}">
                <a16:creationId xmlns:a16="http://schemas.microsoft.com/office/drawing/2014/main" id="{98648985-32C8-49E5-8DE5-46E78C9B922F}"/>
              </a:ext>
            </a:extLst>
          </p:cNvPr>
          <p:cNvSpPr txBox="1"/>
          <p:nvPr/>
        </p:nvSpPr>
        <p:spPr>
          <a:xfrm>
            <a:off x="23239" y="174773"/>
            <a:ext cx="12013590" cy="4809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</a:pPr>
            <a:r>
              <a:rPr lang="fr-FR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égories de programmes incluses dans la cartographie des ressources</a:t>
            </a:r>
            <a:endParaRPr kumimoji="0" lang="fr-FR" sz="240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phic 5" descr="Needle">
            <a:extLst>
              <a:ext uri="{FF2B5EF4-FFF2-40B4-BE49-F238E27FC236}">
                <a16:creationId xmlns:a16="http://schemas.microsoft.com/office/drawing/2014/main" id="{CEF80DD9-7003-4650-B5A8-6E1512F8F5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42440" y="1102997"/>
            <a:ext cx="1208698" cy="1208698"/>
          </a:xfrm>
          <a:prstGeom prst="rect">
            <a:avLst/>
          </a:prstGeom>
        </p:spPr>
      </p:pic>
      <p:pic>
        <p:nvPicPr>
          <p:cNvPr id="8" name="Graphic 7" descr="Fork and knife">
            <a:extLst>
              <a:ext uri="{FF2B5EF4-FFF2-40B4-BE49-F238E27FC236}">
                <a16:creationId xmlns:a16="http://schemas.microsoft.com/office/drawing/2014/main" id="{31289065-4A11-4CEF-9F8F-AAB05B1EBB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192216" y="1127936"/>
            <a:ext cx="1208698" cy="1208698"/>
          </a:xfrm>
          <a:prstGeom prst="rect">
            <a:avLst/>
          </a:prstGeom>
        </p:spPr>
      </p:pic>
      <p:pic>
        <p:nvPicPr>
          <p:cNvPr id="10" name="Graphic 9" descr="Lungs">
            <a:extLst>
              <a:ext uri="{FF2B5EF4-FFF2-40B4-BE49-F238E27FC236}">
                <a16:creationId xmlns:a16="http://schemas.microsoft.com/office/drawing/2014/main" id="{323D26FB-BC9C-41D1-9F82-620C66E920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22528" y="1129330"/>
            <a:ext cx="1208698" cy="1208698"/>
          </a:xfrm>
          <a:prstGeom prst="rect">
            <a:avLst/>
          </a:prstGeom>
        </p:spPr>
      </p:pic>
      <p:pic>
        <p:nvPicPr>
          <p:cNvPr id="12" name="Graphic 11" descr="Stomach">
            <a:extLst>
              <a:ext uri="{FF2B5EF4-FFF2-40B4-BE49-F238E27FC236}">
                <a16:creationId xmlns:a16="http://schemas.microsoft.com/office/drawing/2014/main" id="{F2382108-990B-4ADE-BCCE-7056F6AA63F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11038" y="1145956"/>
            <a:ext cx="1208698" cy="1208698"/>
          </a:xfrm>
          <a:prstGeom prst="rect">
            <a:avLst/>
          </a:prstGeom>
        </p:spPr>
      </p:pic>
      <p:pic>
        <p:nvPicPr>
          <p:cNvPr id="14" name="Graphic 13" descr="Heart with pulse">
            <a:extLst>
              <a:ext uri="{FF2B5EF4-FFF2-40B4-BE49-F238E27FC236}">
                <a16:creationId xmlns:a16="http://schemas.microsoft.com/office/drawing/2014/main" id="{915EBE07-62AC-49C5-A779-060BEA70250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266541" y="1187521"/>
            <a:ext cx="1208698" cy="1208698"/>
          </a:xfrm>
          <a:prstGeom prst="rect">
            <a:avLst/>
          </a:prstGeom>
        </p:spPr>
      </p:pic>
      <p:pic>
        <p:nvPicPr>
          <p:cNvPr id="16" name="Graphic 15" descr="Eye dropper">
            <a:extLst>
              <a:ext uri="{FF2B5EF4-FFF2-40B4-BE49-F238E27FC236}">
                <a16:creationId xmlns:a16="http://schemas.microsoft.com/office/drawing/2014/main" id="{00DFDB23-6870-4D59-8430-4048FE74CC5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42440" y="3097734"/>
            <a:ext cx="1208698" cy="1208698"/>
          </a:xfrm>
          <a:prstGeom prst="rect">
            <a:avLst/>
          </a:prstGeom>
        </p:spPr>
      </p:pic>
      <p:pic>
        <p:nvPicPr>
          <p:cNvPr id="18" name="Picture 17" descr="A picture containing shape&#10;&#10;Description automatically generated">
            <a:extLst>
              <a:ext uri="{FF2B5EF4-FFF2-40B4-BE49-F238E27FC236}">
                <a16:creationId xmlns:a16="http://schemas.microsoft.com/office/drawing/2014/main" id="{076BA776-2A0F-4FAC-B5C3-8869C56F83E0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91267" y="3139299"/>
            <a:ext cx="1208698" cy="1208698"/>
          </a:xfrm>
          <a:prstGeom prst="rect">
            <a:avLst/>
          </a:prstGeom>
          <a:noFill/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01DA22BA-02AB-4EC6-A3B5-EFFF2DD0DAB2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14444" t="2295" r="19433" b="1"/>
          <a:stretch/>
        </p:blipFill>
        <p:spPr>
          <a:xfrm>
            <a:off x="119041" y="4919830"/>
            <a:ext cx="1189806" cy="1208698"/>
          </a:xfrm>
          <a:prstGeom prst="rect">
            <a:avLst/>
          </a:prstGeom>
        </p:spPr>
      </p:pic>
      <p:pic>
        <p:nvPicPr>
          <p:cNvPr id="22" name="Graphic 21" descr="Medicine">
            <a:extLst>
              <a:ext uri="{FF2B5EF4-FFF2-40B4-BE49-F238E27FC236}">
                <a16:creationId xmlns:a16="http://schemas.microsoft.com/office/drawing/2014/main" id="{5DF558C5-8EB7-4477-9796-9790A8F91A0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311038" y="3133232"/>
            <a:ext cx="1208698" cy="1208698"/>
          </a:xfrm>
          <a:prstGeom prst="rect">
            <a:avLst/>
          </a:prstGeom>
        </p:spPr>
      </p:pic>
      <p:pic>
        <p:nvPicPr>
          <p:cNvPr id="24" name="Graphic 23" descr="Hospital">
            <a:extLst>
              <a:ext uri="{FF2B5EF4-FFF2-40B4-BE49-F238E27FC236}">
                <a16:creationId xmlns:a16="http://schemas.microsoft.com/office/drawing/2014/main" id="{ECDF5978-4530-4BA2-BE07-A995692A9BC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223045" y="4995816"/>
            <a:ext cx="1208698" cy="1208698"/>
          </a:xfrm>
          <a:prstGeom prst="rect">
            <a:avLst/>
          </a:prstGeom>
        </p:spPr>
      </p:pic>
      <p:pic>
        <p:nvPicPr>
          <p:cNvPr id="26" name="Picture 25" descr="A picture containing shape&#10;&#10;Description automatically generated">
            <a:extLst>
              <a:ext uri="{FF2B5EF4-FFF2-40B4-BE49-F238E27FC236}">
                <a16:creationId xmlns:a16="http://schemas.microsoft.com/office/drawing/2014/main" id="{2B852911-4600-4670-9323-B8FAA92CD0B4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66541" y="3174797"/>
            <a:ext cx="1208698" cy="1208698"/>
          </a:xfrm>
          <a:prstGeom prst="rect">
            <a:avLst/>
          </a:prstGeom>
        </p:spPr>
      </p:pic>
      <p:pic>
        <p:nvPicPr>
          <p:cNvPr id="28" name="Picture 27" descr="Logo&#10;&#10;Description automatically generated">
            <a:extLst>
              <a:ext uri="{FF2B5EF4-FFF2-40B4-BE49-F238E27FC236}">
                <a16:creationId xmlns:a16="http://schemas.microsoft.com/office/drawing/2014/main" id="{E8F9DBAA-9510-40DB-B208-35DACACCDAB0}"/>
              </a:ext>
            </a:extLst>
          </p:cNvPr>
          <p:cNvPicPr>
            <a:picLocks noChangeAspect="1"/>
          </p:cNvPicPr>
          <p:nvPr/>
        </p:nvPicPr>
        <p:blipFill>
          <a:blip r:embed="rId22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357981" y="5162073"/>
            <a:ext cx="1047538" cy="1047538"/>
          </a:xfrm>
          <a:prstGeom prst="rect">
            <a:avLst/>
          </a:prstGeom>
        </p:spPr>
      </p:pic>
      <p:pic>
        <p:nvPicPr>
          <p:cNvPr id="32" name="Graphic 31" descr="Ambulance">
            <a:extLst>
              <a:ext uri="{FF2B5EF4-FFF2-40B4-BE49-F238E27FC236}">
                <a16:creationId xmlns:a16="http://schemas.microsoft.com/office/drawing/2014/main" id="{5E15AD87-BEB9-46EB-9823-9CE40C993E47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6311038" y="5120508"/>
            <a:ext cx="1208698" cy="1208698"/>
          </a:xfrm>
          <a:prstGeom prst="rect">
            <a:avLst/>
          </a:prstGeom>
        </p:spPr>
      </p:pic>
      <p:pic>
        <p:nvPicPr>
          <p:cNvPr id="37" name="Graphic 36" descr="House">
            <a:extLst>
              <a:ext uri="{FF2B5EF4-FFF2-40B4-BE49-F238E27FC236}">
                <a16:creationId xmlns:a16="http://schemas.microsoft.com/office/drawing/2014/main" id="{B84501E8-243B-404A-9D6E-EC045D5657B2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222527" y="5045646"/>
            <a:ext cx="1208698" cy="1208698"/>
          </a:xfrm>
          <a:prstGeom prst="rect">
            <a:avLst/>
          </a:prstGeom>
        </p:spPr>
      </p:pic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9CD71E74-ED6B-49FA-8456-D40F1250663E}"/>
              </a:ext>
            </a:extLst>
          </p:cNvPr>
          <p:cNvSpPr/>
          <p:nvPr/>
        </p:nvSpPr>
        <p:spPr>
          <a:xfrm>
            <a:off x="105280" y="2560578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Vaccination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F0E28F1F-A8D2-4C11-B55B-B86B82B95B90}"/>
              </a:ext>
            </a:extLst>
          </p:cNvPr>
          <p:cNvSpPr/>
          <p:nvPr/>
        </p:nvSpPr>
        <p:spPr>
          <a:xfrm>
            <a:off x="2051515" y="2580518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Nutrition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02118803-BC50-456E-943E-C33FE4A3EDDE}"/>
              </a:ext>
            </a:extLst>
          </p:cNvPr>
          <p:cNvSpPr/>
          <p:nvPr/>
        </p:nvSpPr>
        <p:spPr>
          <a:xfrm>
            <a:off x="4085367" y="2580168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Inf. Resp.</a:t>
            </a: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5BEA7CDD-70CC-4560-870F-D85E8367A7A7}"/>
              </a:ext>
            </a:extLst>
          </p:cNvPr>
          <p:cNvSpPr/>
          <p:nvPr/>
        </p:nvSpPr>
        <p:spPr>
          <a:xfrm>
            <a:off x="6177418" y="2596652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.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rrhéiq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1B1B2182-3E99-40A3-B6DD-766CD7B0F7EE}"/>
              </a:ext>
            </a:extLst>
          </p:cNvPr>
          <p:cNvSpPr/>
          <p:nvPr/>
        </p:nvSpPr>
        <p:spPr>
          <a:xfrm>
            <a:off x="8136461" y="2638217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NT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E0F9353D-E71E-4FE1-B2F8-EC0BD78FE578}"/>
              </a:ext>
            </a:extLst>
          </p:cNvPr>
          <p:cNvSpPr/>
          <p:nvPr/>
        </p:nvSpPr>
        <p:spPr>
          <a:xfrm>
            <a:off x="8136461" y="4625635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. VIH et MST</a:t>
            </a:r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8C8E324B-4974-4139-9A4B-0A280A67AF05}"/>
              </a:ext>
            </a:extLst>
          </p:cNvPr>
          <p:cNvSpPr/>
          <p:nvPr/>
        </p:nvSpPr>
        <p:spPr>
          <a:xfrm>
            <a:off x="6177418" y="4584070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berculose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28FF18BD-F308-4B91-910E-0B71FFAF3F8D}"/>
              </a:ext>
            </a:extLst>
          </p:cNvPr>
          <p:cNvSpPr/>
          <p:nvPr/>
        </p:nvSpPr>
        <p:spPr>
          <a:xfrm>
            <a:off x="4154107" y="4538326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ludisme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CA3A8A1-6519-418F-88AF-DC9DA8492477}"/>
              </a:ext>
            </a:extLst>
          </p:cNvPr>
          <p:cNvSpPr/>
          <p:nvPr/>
        </p:nvSpPr>
        <p:spPr>
          <a:xfrm>
            <a:off x="105280" y="4496761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TN</a:t>
            </a:r>
          </a:p>
        </p:txBody>
      </p: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16CE9B63-2B0F-49E7-86DE-F55783A6E434}"/>
              </a:ext>
            </a:extLst>
          </p:cNvPr>
          <p:cNvSpPr/>
          <p:nvPr/>
        </p:nvSpPr>
        <p:spPr>
          <a:xfrm>
            <a:off x="105280" y="6273247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 SRMNIA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E9DDAFBF-DBDF-44FF-98EA-A267458EB478}"/>
              </a:ext>
            </a:extLst>
          </p:cNvPr>
          <p:cNvSpPr/>
          <p:nvPr/>
        </p:nvSpPr>
        <p:spPr>
          <a:xfrm>
            <a:off x="2051515" y="6298186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RSS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nsv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Rectangle: Rounded Corners 51">
            <a:extLst>
              <a:ext uri="{FF2B5EF4-FFF2-40B4-BE49-F238E27FC236}">
                <a16:creationId xmlns:a16="http://schemas.microsoft.com/office/drawing/2014/main" id="{757FFE13-9585-4835-B4B3-2A5CDB601AF0}"/>
              </a:ext>
            </a:extLst>
          </p:cNvPr>
          <p:cNvSpPr/>
          <p:nvPr/>
        </p:nvSpPr>
        <p:spPr>
          <a:xfrm>
            <a:off x="4085367" y="6254344"/>
            <a:ext cx="1625467" cy="335211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ins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imaires</a:t>
            </a:r>
          </a:p>
        </p:txBody>
      </p:sp>
      <p:sp>
        <p:nvSpPr>
          <p:cNvPr id="53" name="Rectangle: Rounded Corners 52">
            <a:extLst>
              <a:ext uri="{FF2B5EF4-FFF2-40B4-BE49-F238E27FC236}">
                <a16:creationId xmlns:a16="http://schemas.microsoft.com/office/drawing/2014/main" id="{2D1BD3AD-6A9F-49B2-A0A8-977B40548D63}"/>
              </a:ext>
            </a:extLst>
          </p:cNvPr>
          <p:cNvSpPr/>
          <p:nvPr/>
        </p:nvSpPr>
        <p:spPr>
          <a:xfrm>
            <a:off x="6173878" y="6331438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gence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: Rounded Corners 53">
            <a:extLst>
              <a:ext uri="{FF2B5EF4-FFF2-40B4-BE49-F238E27FC236}">
                <a16:creationId xmlns:a16="http://schemas.microsoft.com/office/drawing/2014/main" id="{77B47C04-A83B-4BCB-88A4-55010A9AE151}"/>
              </a:ext>
            </a:extLst>
          </p:cNvPr>
          <p:cNvSpPr/>
          <p:nvPr/>
        </p:nvSpPr>
        <p:spPr>
          <a:xfrm>
            <a:off x="8136461" y="6347884"/>
            <a:ext cx="1556727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Prot.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e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: Rounded Corners 47">
            <a:extLst>
              <a:ext uri="{FF2B5EF4-FFF2-40B4-BE49-F238E27FC236}">
                <a16:creationId xmlns:a16="http://schemas.microsoft.com/office/drawing/2014/main" id="{AA4A22E9-95C7-427B-B79B-9AD25C6ECAFB}"/>
              </a:ext>
            </a:extLst>
          </p:cNvPr>
          <p:cNvSpPr/>
          <p:nvPr/>
        </p:nvSpPr>
        <p:spPr>
          <a:xfrm>
            <a:off x="2051515" y="4521700"/>
            <a:ext cx="1621742" cy="316308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Mal. Org. </a:t>
            </a:r>
            <a:r>
              <a:rPr lang="en-US" sz="16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s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onut 22">
            <a:extLst>
              <a:ext uri="{FF2B5EF4-FFF2-40B4-BE49-F238E27FC236}">
                <a16:creationId xmlns:a16="http://schemas.microsoft.com/office/drawing/2014/main" id="{8FA307AA-A161-4C99-B03A-15FF12A5633C}"/>
              </a:ext>
            </a:extLst>
          </p:cNvPr>
          <p:cNvSpPr>
            <a:spLocks noChangeAspect="1"/>
          </p:cNvSpPr>
          <p:nvPr/>
        </p:nvSpPr>
        <p:spPr>
          <a:xfrm>
            <a:off x="2316533" y="3453939"/>
            <a:ext cx="982883" cy="503433"/>
          </a:xfrm>
          <a:custGeom>
            <a:avLst/>
            <a:gdLst/>
            <a:ahLst/>
            <a:cxnLst/>
            <a:rect l="l" t="t" r="r" b="b"/>
            <a:pathLst>
              <a:path w="3372524" h="1727404">
                <a:moveTo>
                  <a:pt x="1758003" y="666958"/>
                </a:moveTo>
                <a:cubicBezTo>
                  <a:pt x="1703684" y="666958"/>
                  <a:pt x="1659649" y="710993"/>
                  <a:pt x="1659649" y="765312"/>
                </a:cubicBezTo>
                <a:cubicBezTo>
                  <a:pt x="1659649" y="819631"/>
                  <a:pt x="1703684" y="863666"/>
                  <a:pt x="1758003" y="863666"/>
                </a:cubicBezTo>
                <a:cubicBezTo>
                  <a:pt x="1812322" y="863666"/>
                  <a:pt x="1856357" y="819631"/>
                  <a:pt x="1856357" y="765312"/>
                </a:cubicBezTo>
                <a:cubicBezTo>
                  <a:pt x="1856357" y="710993"/>
                  <a:pt x="1812322" y="666958"/>
                  <a:pt x="1758003" y="666958"/>
                </a:cubicBezTo>
                <a:close/>
                <a:moveTo>
                  <a:pt x="1686261" y="586208"/>
                </a:moveTo>
                <a:cubicBezTo>
                  <a:pt x="1849880" y="586208"/>
                  <a:pt x="1982519" y="718847"/>
                  <a:pt x="1982519" y="882466"/>
                </a:cubicBezTo>
                <a:cubicBezTo>
                  <a:pt x="1982519" y="1046085"/>
                  <a:pt x="1849880" y="1178724"/>
                  <a:pt x="1686261" y="1178724"/>
                </a:cubicBezTo>
                <a:cubicBezTo>
                  <a:pt x="1522642" y="1178724"/>
                  <a:pt x="1390003" y="1046085"/>
                  <a:pt x="1390003" y="882466"/>
                </a:cubicBezTo>
                <a:cubicBezTo>
                  <a:pt x="1390003" y="718847"/>
                  <a:pt x="1522642" y="586208"/>
                  <a:pt x="1686261" y="586208"/>
                </a:cubicBezTo>
                <a:close/>
                <a:moveTo>
                  <a:pt x="1686262" y="448985"/>
                </a:moveTo>
                <a:cubicBezTo>
                  <a:pt x="1446857" y="448985"/>
                  <a:pt x="1252780" y="643062"/>
                  <a:pt x="1252780" y="882467"/>
                </a:cubicBezTo>
                <a:cubicBezTo>
                  <a:pt x="1252780" y="1121872"/>
                  <a:pt x="1446857" y="1315949"/>
                  <a:pt x="1686262" y="1315949"/>
                </a:cubicBezTo>
                <a:cubicBezTo>
                  <a:pt x="1925667" y="1315949"/>
                  <a:pt x="2119744" y="1121872"/>
                  <a:pt x="2119744" y="882467"/>
                </a:cubicBezTo>
                <a:cubicBezTo>
                  <a:pt x="2119744" y="643062"/>
                  <a:pt x="1925667" y="448985"/>
                  <a:pt x="1686262" y="448985"/>
                </a:cubicBezTo>
                <a:close/>
                <a:moveTo>
                  <a:pt x="1893261" y="271274"/>
                </a:moveTo>
                <a:cubicBezTo>
                  <a:pt x="2150128" y="355123"/>
                  <a:pt x="2334334" y="597283"/>
                  <a:pt x="2334334" y="882467"/>
                </a:cubicBezTo>
                <a:cubicBezTo>
                  <a:pt x="2334334" y="1103921"/>
                  <a:pt x="2223259" y="1299432"/>
                  <a:pt x="2053457" y="1415856"/>
                </a:cubicBezTo>
                <a:cubicBezTo>
                  <a:pt x="2494577" y="1286853"/>
                  <a:pt x="2931337" y="1005905"/>
                  <a:pt x="2940842" y="882353"/>
                </a:cubicBezTo>
                <a:lnTo>
                  <a:pt x="2946401" y="882364"/>
                </a:lnTo>
                <a:lnTo>
                  <a:pt x="2943679" y="877137"/>
                </a:lnTo>
                <a:lnTo>
                  <a:pt x="2946401" y="872130"/>
                </a:lnTo>
                <a:lnTo>
                  <a:pt x="2941077" y="872141"/>
                </a:lnTo>
                <a:cubicBezTo>
                  <a:pt x="2875996" y="732702"/>
                  <a:pt x="2369865" y="377972"/>
                  <a:pt x="1893261" y="271274"/>
                </a:cubicBezTo>
                <a:close/>
                <a:moveTo>
                  <a:pt x="1525754" y="256843"/>
                </a:moveTo>
                <a:cubicBezTo>
                  <a:pt x="984953" y="339274"/>
                  <a:pt x="426123" y="752145"/>
                  <a:pt x="426123" y="877021"/>
                </a:cubicBezTo>
                <a:lnTo>
                  <a:pt x="426123" y="877247"/>
                </a:lnTo>
                <a:cubicBezTo>
                  <a:pt x="439083" y="984175"/>
                  <a:pt x="877625" y="1311577"/>
                  <a:pt x="1355183" y="1436828"/>
                </a:cubicBezTo>
                <a:cubicBezTo>
                  <a:pt x="1164798" y="1325758"/>
                  <a:pt x="1038190" y="1118898"/>
                  <a:pt x="1038190" y="882467"/>
                </a:cubicBezTo>
                <a:cubicBezTo>
                  <a:pt x="1038190" y="580157"/>
                  <a:pt x="1245184" y="326193"/>
                  <a:pt x="1525754" y="256843"/>
                </a:cubicBezTo>
                <a:close/>
                <a:moveTo>
                  <a:pt x="1682713" y="0"/>
                </a:moveTo>
                <a:cubicBezTo>
                  <a:pt x="2385858" y="36225"/>
                  <a:pt x="3265322" y="653066"/>
                  <a:pt x="3365400" y="875412"/>
                </a:cubicBezTo>
                <a:lnTo>
                  <a:pt x="3372524" y="875397"/>
                </a:lnTo>
                <a:lnTo>
                  <a:pt x="3368881" y="882344"/>
                </a:lnTo>
                <a:lnTo>
                  <a:pt x="3372524" y="889597"/>
                </a:lnTo>
                <a:lnTo>
                  <a:pt x="3365086" y="889581"/>
                </a:lnTo>
                <a:cubicBezTo>
                  <a:pt x="3348713" y="1110249"/>
                  <a:pt x="2385134" y="1692746"/>
                  <a:pt x="1682713" y="1727404"/>
                </a:cubicBezTo>
                <a:cubicBezTo>
                  <a:pt x="901706" y="1708470"/>
                  <a:pt x="21301" y="1064732"/>
                  <a:pt x="0" y="882497"/>
                </a:cubicBezTo>
                <a:lnTo>
                  <a:pt x="0" y="882184"/>
                </a:lnTo>
                <a:cubicBezTo>
                  <a:pt x="0" y="691908"/>
                  <a:pt x="901706" y="19770"/>
                  <a:pt x="1682713" y="0"/>
                </a:cubicBez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tx1"/>
              </a:solidFill>
            </a:endParaRPr>
          </a:p>
        </p:txBody>
      </p:sp>
      <p:pic>
        <p:nvPicPr>
          <p:cNvPr id="5" name="Graphic 4" descr="Inpatient with solid fill">
            <a:extLst>
              <a:ext uri="{FF2B5EF4-FFF2-40B4-BE49-F238E27FC236}">
                <a16:creationId xmlns:a16="http://schemas.microsoft.com/office/drawing/2014/main" id="{82A148F0-5235-4FFE-997E-AA57A314312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21932" y="1231681"/>
            <a:ext cx="1208698" cy="1208698"/>
          </a:xfrm>
          <a:prstGeom prst="rect">
            <a:avLst/>
          </a:prstGeom>
        </p:spPr>
      </p:pic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6EB489E3-98BB-4472-961F-45E1029D4D87}"/>
              </a:ext>
            </a:extLst>
          </p:cNvPr>
          <p:cNvSpPr/>
          <p:nvPr/>
        </p:nvSpPr>
        <p:spPr>
          <a:xfrm>
            <a:off x="10303321" y="2531381"/>
            <a:ext cx="1645920" cy="423144"/>
          </a:xfrm>
          <a:prstGeom prst="round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 fontAlgn="t"/>
            <a:r>
              <a:rPr lang="fr-FR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Santé </a:t>
            </a:r>
            <a:r>
              <a:rPr lang="en-US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éférence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Graphic 12" descr="Add with solid fill">
            <a:extLst>
              <a:ext uri="{FF2B5EF4-FFF2-40B4-BE49-F238E27FC236}">
                <a16:creationId xmlns:a16="http://schemas.microsoft.com/office/drawing/2014/main" id="{083011FB-72AC-49E5-9D42-6875C3355780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468921" y="1422099"/>
            <a:ext cx="914400" cy="9144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D7BBC79-95DC-40F8-8456-784D8A1BBA04}"/>
              </a:ext>
            </a:extLst>
          </p:cNvPr>
          <p:cNvSpPr txBox="1">
            <a:spLocks noChangeAspect="1"/>
          </p:cNvSpPr>
          <p:nvPr/>
        </p:nvSpPr>
        <p:spPr>
          <a:xfrm>
            <a:off x="9991898" y="3243471"/>
            <a:ext cx="1957343" cy="323214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r>
              <a:rPr lang="fr-FR" sz="1600" i="1" dirty="0"/>
              <a:t>Une nouvelle catégorie de programme a été ajoutée pour tenir compte des paiements directs des ménages au niveau des hôpitaux et du programme du ministère de la santé pour les soins de santé de référence. </a:t>
            </a:r>
            <a:endParaRPr lang="en-US" sz="1600" i="1" dirty="0"/>
          </a:p>
        </p:txBody>
      </p:sp>
    </p:spTree>
    <p:extLst>
      <p:ext uri="{BB962C8B-B14F-4D97-AF65-F5344CB8AC3E}">
        <p14:creationId xmlns:p14="http://schemas.microsoft.com/office/powerpoint/2010/main" val="19920565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08E3A75C-3020-405E-B73C-20DDE90D57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1544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91" imgW="416" imgH="416" progId="TCLayout.ActiveDocument.1">
                  <p:embed/>
                </p:oleObj>
              </mc:Choice>
              <mc:Fallback>
                <p:oleObj name="think-cell Slide" r:id="rId91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42F85037-7095-4907-AC9F-8059A62019FF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76379970"/>
              </p:ext>
            </p:extLst>
          </p:nvPr>
        </p:nvGraphicFramePr>
        <p:xfrm>
          <a:off x="2727325" y="1533525"/>
          <a:ext cx="9093200" cy="5259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C91B7E87-50CF-4917-9B04-86DAB4AEDFD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6588125" y="3101975"/>
            <a:ext cx="0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5CDDA5A-FE15-4094-8142-2464FF19812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254750" y="3101975"/>
            <a:ext cx="0" cy="174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06636CA5-0873-4D68-98F3-5D4378CE7A3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5432425" y="3119438"/>
            <a:ext cx="822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7795C22-2788-452D-A71F-AC5B110C6789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5246688" y="3951288"/>
            <a:ext cx="698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A51F8482-A5E0-47F4-A899-3F10F5E0A994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5283200" y="3054350"/>
            <a:ext cx="4841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920F90B-8E11-432E-8596-3D865B2B31E5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4122738" y="5473700"/>
            <a:ext cx="0" cy="9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143BE13-88A6-482B-9B81-62E063D7E1A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921500" y="3101974"/>
            <a:ext cx="0" cy="147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9" name="Straight Connector 368">
            <a:extLst>
              <a:ext uri="{FF2B5EF4-FFF2-40B4-BE49-F238E27FC236}">
                <a16:creationId xmlns:a16="http://schemas.microsoft.com/office/drawing/2014/main" id="{825A1D2A-5129-4C30-A55C-ED4D583444FF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2974976" y="6211888"/>
            <a:ext cx="3159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C83D007-8F04-4EF6-9506-0E7AC90F6F9F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5665788" y="3249613"/>
            <a:ext cx="125571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A697C16-7408-4AF9-BA62-2298B096D508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3482976" y="5473700"/>
            <a:ext cx="6397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1" name="Straight Connector 360">
            <a:extLst>
              <a:ext uri="{FF2B5EF4-FFF2-40B4-BE49-F238E27FC236}">
                <a16:creationId xmlns:a16="http://schemas.microsoft.com/office/drawing/2014/main" id="{E747AB52-FE5E-40EE-8993-A89FA43381C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3011488" y="5362575"/>
            <a:ext cx="593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265B5FD5-1B2F-4314-AB57-0A8889AAE24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5518150" y="3184525"/>
            <a:ext cx="10699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98DE67A1-850A-4268-9CB7-D0773616277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2952749" y="6315075"/>
            <a:ext cx="9604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638E520-2AE4-4C5A-AA3F-43EDEE9EEB5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2835275" y="6343650"/>
            <a:ext cx="4429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0" name="Straight Connector 389">
            <a:extLst>
              <a:ext uri="{FF2B5EF4-FFF2-40B4-BE49-F238E27FC236}">
                <a16:creationId xmlns:a16="http://schemas.microsoft.com/office/drawing/2014/main" id="{962FD6AC-6823-4C73-BDA8-31A2F3FBE053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2914649" y="5510213"/>
            <a:ext cx="6223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AE6CB0A4-2F6E-4FC7-8A6C-B8979EB6CF09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V="1">
            <a:off x="3913188" y="6315074"/>
            <a:ext cx="0" cy="79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Text Placeholder 13">
            <a:extLst>
              <a:ext uri="{FF2B5EF4-FFF2-40B4-BE49-F238E27FC236}">
                <a16:creationId xmlns:a16="http://schemas.microsoft.com/office/drawing/2014/main" id="{6299C83F-F292-44BF-81E2-5C6659FDF8F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10655300" y="17208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65BB409-AF2B-4EB7-9F1D-1D8AB72084B7}" type="datetime'''''''''''''''''''''''''''''''''2''0''''''''''''%'''">
              <a:rPr lang="en-US" altLang="en-US" sz="1400" smtClean="0">
                <a:cs typeface="+mn-cs"/>
              </a:rPr>
              <a:pPr/>
              <a:t>20%</a:t>
            </a:fld>
            <a:endParaRPr lang="en-US" sz="1400" dirty="0">
              <a:cs typeface="+mn-cs"/>
            </a:endParaRPr>
          </a:p>
        </p:txBody>
      </p:sp>
      <p:sp>
        <p:nvSpPr>
          <p:cNvPr id="94" name="Text Placeholder 13">
            <a:extLst>
              <a:ext uri="{FF2B5EF4-FFF2-40B4-BE49-F238E27FC236}">
                <a16:creationId xmlns:a16="http://schemas.microsoft.com/office/drawing/2014/main" id="{023ED63C-E7B0-4D62-8CF5-2C4594C4EEC9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434138" y="2889250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B56894-6831-4E5E-8D80-B7FBC63F0103}" type="datetime'''''''''''''1''''''''''''''''''''''''''%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cs typeface="+mn-cs"/>
            </a:endParaRPr>
          </a:p>
        </p:txBody>
      </p:sp>
      <p:sp>
        <p:nvSpPr>
          <p:cNvPr id="238" name="Text Placeholder 13">
            <a:extLst>
              <a:ext uri="{FF2B5EF4-FFF2-40B4-BE49-F238E27FC236}">
                <a16:creationId xmlns:a16="http://schemas.microsoft.com/office/drawing/2014/main" id="{0AA1FFD4-1C68-4AB5-8C56-C5CA814DC462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997325" y="38449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2A7EFE-EFD2-47FC-8754-CE129FF5FFEA}" type="datetime'''''5''''''''''''''''''''''''4''''''''''''''''''''%'">
              <a:rPr lang="en-US" altLang="en-US" sz="1400" smtClean="0">
                <a:cs typeface="+mn-cs"/>
              </a:rPr>
              <a:pPr/>
              <a:t>54%</a:t>
            </a:fld>
            <a:endParaRPr lang="en-US" sz="1400" dirty="0">
              <a:cs typeface="+mn-cs"/>
            </a:endParaRPr>
          </a:p>
        </p:txBody>
      </p:sp>
      <p:sp>
        <p:nvSpPr>
          <p:cNvPr id="110" name="Text Placeholder 13">
            <a:extLst>
              <a:ext uri="{FF2B5EF4-FFF2-40B4-BE49-F238E27FC236}">
                <a16:creationId xmlns:a16="http://schemas.microsoft.com/office/drawing/2014/main" id="{D97CCAE1-B29A-49E3-9697-D03FC5B302F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767514" y="2889250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BDB6C37-ED5F-49A7-947D-4CA8538EC0F5}" type="datetime'''''''''''''''''''''''''''''7''%''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%</a:t>
            </a:fld>
            <a:endParaRPr lang="en-US" sz="1400" dirty="0">
              <a:cs typeface="+mn-cs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86C7AF0E-0F3D-4465-86B6-94B8908ADE1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11150" y="2146300"/>
            <a:ext cx="2216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A69019-291F-4D16-BC26-ED393BFEBBDC}" type="datetime'S''''''''o''''ins'' de san''''té'''''''' de'' ''''r''éférence'">
              <a:rPr lang="fr-FR" altLang="en-US" sz="1400" smtClean="0">
                <a:cs typeface="+mn-cs"/>
              </a:rPr>
              <a:pPr/>
              <a:t>Soins de santé de référence</a:t>
            </a:fld>
            <a:endParaRPr lang="en-US" sz="1400" dirty="0">
              <a:cs typeface="+mn-cs"/>
            </a:endParaRPr>
          </a:p>
        </p:txBody>
      </p:sp>
      <p:sp>
        <p:nvSpPr>
          <p:cNvPr id="226" name="Text Placeholder 13">
            <a:extLst>
              <a:ext uri="{FF2B5EF4-FFF2-40B4-BE49-F238E27FC236}">
                <a16:creationId xmlns:a16="http://schemas.microsoft.com/office/drawing/2014/main" id="{65BC52EC-6320-428D-BE62-A4E00AEB3CA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191250" y="17208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90D69E-FBF9-4FFF-9F7A-00AEBE72EE61}" type="datetime'''''''''''''8''''''''''''''''0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8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AC4EF4EF-7CAB-4A8F-953C-C9D1BF40F892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278188" y="63230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0ACD31E-AA10-4A0C-9FFB-245D2B8F74B6}" type="datetime'1''''''''''''''''''9''''''''%'''''''''''''''''''''''''''''''">
              <a:rPr lang="en-US" altLang="en-US" sz="1400" smtClean="0">
                <a:cs typeface="+mn-cs"/>
              </a:rPr>
              <a:pPr/>
              <a:t>19%</a:t>
            </a:fld>
            <a:endParaRPr lang="en-US" sz="1400" dirty="0">
              <a:cs typeface="+mn-cs"/>
            </a:endParaRPr>
          </a:p>
        </p:txBody>
      </p:sp>
      <p:sp>
        <p:nvSpPr>
          <p:cNvPr id="333" name="Text Placeholder 13">
            <a:extLst>
              <a:ext uri="{FF2B5EF4-FFF2-40B4-BE49-F238E27FC236}">
                <a16:creationId xmlns:a16="http://schemas.microsoft.com/office/drawing/2014/main" id="{88BD2CBA-944D-4D25-BCD7-2BBD03A294F9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183438" y="2079625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84717B-12B3-47E2-84DE-C10F82693FD8}" type="datetime'''''''''''2''''''''3''''7'''''''''''''''''">
              <a:rPr lang="en-US" altLang="en-US" sz="1400" smtClean="0">
                <a:cs typeface="+mn-cs"/>
              </a:rPr>
              <a:pPr/>
              <a:t>237</a:t>
            </a:fld>
            <a:endParaRPr lang="en-US" sz="1400" dirty="0">
              <a:cs typeface="+mn-cs"/>
            </a:endParaRP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9F64E682-8A9D-405C-B878-85937CD8FE1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160588" y="1720850"/>
            <a:ext cx="366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58718F1-5495-4053-872F-E26BB94EFEF0}" type="datetime'''''''R''S''''''''''S'''''''''''''''">
              <a:rPr lang="fr-FR" altLang="en-US" sz="1400" smtClean="0">
                <a:cs typeface="+mn-cs"/>
              </a:rPr>
              <a:pPr/>
              <a:t>RSS</a:t>
            </a:fld>
            <a:endParaRPr lang="en-US" sz="1400" dirty="0">
              <a:cs typeface="+mn-cs"/>
            </a:endParaRP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B5E9F4F6-7C58-4B5F-A918-2EED49B7BFA5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592763" y="21463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CB501E9-341B-4531-945E-243AF26C6471}" type="datetime'''6''''''''''''''''''''''''''''3''''''''''%'''''''''''''''''''">
              <a:rPr lang="en-US" altLang="en-US" sz="1400" smtClean="0">
                <a:cs typeface="+mn-cs"/>
              </a:rPr>
              <a:pPr/>
              <a:t>63%</a:t>
            </a:fld>
            <a:endParaRPr lang="en-US" sz="1400" dirty="0">
              <a:cs typeface="+mn-cs"/>
            </a:endParaRPr>
          </a:p>
        </p:txBody>
      </p:sp>
      <p:sp>
        <p:nvSpPr>
          <p:cNvPr id="228" name="Text Placeholder 13">
            <a:extLst>
              <a:ext uri="{FF2B5EF4-FFF2-40B4-BE49-F238E27FC236}">
                <a16:creationId xmlns:a16="http://schemas.microsoft.com/office/drawing/2014/main" id="{1B121DDD-7C02-4B64-AA48-2C9BADE8177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419475" y="21463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59D14D-1584-470B-8517-99702E70DE78}" type="datetime'''''''3''''''''''''''''''''''''''''''''''''''''''7''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7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29" name="Text Placeholder 13">
            <a:extLst>
              <a:ext uri="{FF2B5EF4-FFF2-40B4-BE49-F238E27FC236}">
                <a16:creationId xmlns:a16="http://schemas.microsoft.com/office/drawing/2014/main" id="{24F80E66-5C94-43F8-9223-1540DFFE0F0A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5965825" y="25701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0CF9CB-0D96-4286-8AD9-45A056E439A8}" type="datetime'''''''''''''''''''''''''''''''''''''3''''''8''%'''''''''">
              <a:rPr lang="en-US" altLang="en-US" sz="1400" smtClean="0">
                <a:cs typeface="+mn-cs"/>
              </a:rPr>
              <a:pPr/>
              <a:t>38%</a:t>
            </a:fld>
            <a:endParaRPr lang="en-US" sz="1400" dirty="0">
              <a:cs typeface="+mn-cs"/>
            </a:endParaRPr>
          </a:p>
        </p:txBody>
      </p:sp>
      <p:sp>
        <p:nvSpPr>
          <p:cNvPr id="243" name="Text Placeholder 13">
            <a:extLst>
              <a:ext uri="{FF2B5EF4-FFF2-40B4-BE49-F238E27FC236}">
                <a16:creationId xmlns:a16="http://schemas.microsoft.com/office/drawing/2014/main" id="{FE1158D1-AAFC-4277-BF97-CC7B46C268C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2813050" y="46926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679159C-0145-42AE-9E75-D55071E3FF51}" type="datetime'''''''''35''''''%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3" name="Text Placeholder 13">
            <a:extLst>
              <a:ext uri="{FF2B5EF4-FFF2-40B4-BE49-F238E27FC236}">
                <a16:creationId xmlns:a16="http://schemas.microsoft.com/office/drawing/2014/main" id="{208CFED9-26D1-4793-BBF6-189AE5EE519C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632325" y="25701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64EE41-9C74-4FB0-B03E-6CF7D1B76A53}" type="datetime'''''''''''''''''''''''''''2''''''''''''''''6''''%'''''''''''''">
              <a:rPr lang="en-US" altLang="en-US" sz="1400" smtClean="0">
                <a:cs typeface="+mn-cs"/>
              </a:rPr>
              <a:pPr/>
              <a:t>26%</a:t>
            </a:fld>
            <a:endParaRPr lang="en-US" sz="1400" dirty="0">
              <a:cs typeface="+mn-cs"/>
            </a:endParaRPr>
          </a:p>
        </p:txBody>
      </p:sp>
      <p:sp>
        <p:nvSpPr>
          <p:cNvPr id="230" name="Text Placeholder 13">
            <a:extLst>
              <a:ext uri="{FF2B5EF4-FFF2-40B4-BE49-F238E27FC236}">
                <a16:creationId xmlns:a16="http://schemas.microsoft.com/office/drawing/2014/main" id="{B9956466-D573-4517-8236-6B64836EDE1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079875" y="2570163"/>
            <a:ext cx="30797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24EBFC-E652-49E0-AB7B-A4F2043F389B}" type="datetime'3''''%''''''''''''''''''''''''''''''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90E6172-6F2C-4D11-A085-4CFC47524CD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4138" y="3844925"/>
            <a:ext cx="244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7F675AD-7A3E-43FE-B1D9-9519D09BC6DA}" type="datetime'Gestio''''''n'' d''es ur''ge''''nc''es'' ''sa''nita''ir''e'">
              <a:rPr lang="en-US" altLang="en-US" sz="1400" smtClean="0">
                <a:cs typeface="+mn-cs"/>
              </a:rPr>
              <a:pPr/>
              <a:t>Gestion des urgences sanitaire</a:t>
            </a:fld>
            <a:endParaRPr lang="en-US" sz="1400" dirty="0">
              <a:cs typeface="+mn-cs"/>
            </a:endParaRPr>
          </a:p>
        </p:txBody>
      </p:sp>
      <p:sp>
        <p:nvSpPr>
          <p:cNvPr id="231" name="Text Placeholder 13">
            <a:extLst>
              <a:ext uri="{FF2B5EF4-FFF2-40B4-BE49-F238E27FC236}">
                <a16:creationId xmlns:a16="http://schemas.microsoft.com/office/drawing/2014/main" id="{B6DBAF69-AA89-485B-A541-77443CD87892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3286125" y="25701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9D3E219-35A3-4050-83C4-AC11F0D3815E}" type="datetime'''3''''''''''3''''''''''''''''''''''''''''''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41B45407-4FFB-40A0-8893-58BBA16AB30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65163" y="2570163"/>
            <a:ext cx="1862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8E2840F-5456-4C0D-8E18-E15D85619940}" type="datetime'Soin''''''''s ''''''''de s''''anté'' ''prima''ir''''''''''e'''">
              <a:rPr lang="fr-FR" altLang="en-US" sz="1400" smtClean="0">
                <a:cs typeface="+mn-cs"/>
              </a:rPr>
              <a:pPr/>
              <a:t>Soins de santé primaire</a:t>
            </a:fld>
            <a:endParaRPr lang="en-US" sz="1400" dirty="0">
              <a:cs typeface="+mn-cs"/>
            </a:endParaRPr>
          </a:p>
        </p:txBody>
      </p:sp>
      <p:sp>
        <p:nvSpPr>
          <p:cNvPr id="131" name="Text Placeholder 13">
            <a:extLst>
              <a:ext uri="{FF2B5EF4-FFF2-40B4-BE49-F238E27FC236}">
                <a16:creationId xmlns:a16="http://schemas.microsoft.com/office/drawing/2014/main" id="{A13D1CF5-5B5B-47C3-8AFE-2947BD93948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865438" y="5967413"/>
            <a:ext cx="406400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521004-7C5C-4A02-BFDA-3D28940CF310}" type="datetime'''''''''''1''''''''''''''''''''''2''''''''%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078B080D-443D-4C80-AD6C-744614FA75E4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622425" y="4692650"/>
            <a:ext cx="904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AE66A63-E9C3-4BEE-B35D-C2D9D034496C}" type="datetime'V''a''''''c''''ci''''''''''''''n''a''''''''t''''io''''''n'''''">
              <a:rPr lang="en-US" altLang="en-US" sz="1400" smtClean="0">
                <a:cs typeface="+mn-cs"/>
              </a:rPr>
              <a:pPr/>
              <a:t>Vaccination</a:t>
            </a:fld>
            <a:endParaRPr lang="en-US" sz="1400" dirty="0">
              <a:cs typeface="+mn-cs"/>
            </a:endParaRPr>
          </a:p>
        </p:txBody>
      </p:sp>
      <p:sp>
        <p:nvSpPr>
          <p:cNvPr id="109" name="Text Placeholder 13">
            <a:extLst>
              <a:ext uri="{FF2B5EF4-FFF2-40B4-BE49-F238E27FC236}">
                <a16:creationId xmlns:a16="http://schemas.microsoft.com/office/drawing/2014/main" id="{D5B08050-BDE4-44A7-830C-9F80BC6282C5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100764" y="2889250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B58E8C-DC9E-4B37-A863-199FCB244F37}" type="datetime'''''''''''''''5%''''''''''''''''''''''''''''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C885AED4-C6BF-44DB-89F0-09B74A0F007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866900" y="5967413"/>
            <a:ext cx="660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D7EC1AB-EB77-46D4-ABAC-D7B65E4D52D5}" type="datetime'N''''u''''''t''''''''''''ri''''''''''t''''''i''''''''on'">
              <a:rPr lang="en-US" altLang="en-US" sz="1400" smtClean="0">
                <a:cs typeface="+mn-cs"/>
              </a:rPr>
              <a:pPr/>
              <a:t>Nutrition</a:t>
            </a:fld>
            <a:endParaRPr lang="en-US" sz="1400" dirty="0">
              <a:cs typeface="+mn-cs"/>
            </a:endParaRPr>
          </a:p>
        </p:txBody>
      </p:sp>
      <p:sp>
        <p:nvSpPr>
          <p:cNvPr id="247" name="Text Placeholder 13">
            <a:extLst>
              <a:ext uri="{FF2B5EF4-FFF2-40B4-BE49-F238E27FC236}">
                <a16:creationId xmlns:a16="http://schemas.microsoft.com/office/drawing/2014/main" id="{2AB95353-06CA-4C96-ACBD-93AC4A5B98E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536949" y="54832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7934FD-DED3-4539-B99A-776FA056991F}" type="datetime'''''''''''''''''''2''''''6''''''''''''''%'''''''''''''''''">
              <a:rPr lang="en-US" altLang="en-US" sz="1400" smtClean="0">
                <a:cs typeface="+mn-cs"/>
              </a:rPr>
              <a:pPr/>
              <a:t>26%</a:t>
            </a:fld>
            <a:endParaRPr lang="en-US" sz="1400" dirty="0">
              <a:cs typeface="+mn-cs"/>
            </a:endParaRPr>
          </a:p>
        </p:txBody>
      </p:sp>
      <p:sp>
        <p:nvSpPr>
          <p:cNvPr id="233" name="Text Placeholder 13">
            <a:extLst>
              <a:ext uri="{FF2B5EF4-FFF2-40B4-BE49-F238E27FC236}">
                <a16:creationId xmlns:a16="http://schemas.microsoft.com/office/drawing/2014/main" id="{9E5883D9-79AA-4A50-8941-75CED0AC88F4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767389" y="2889250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404C2E-7609-4948-8D55-86EA678904F7}" type="datetime'''''''''5''''''''''''''''''''''''''''%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234" name="Text Placeholder 13">
            <a:extLst>
              <a:ext uri="{FF2B5EF4-FFF2-40B4-BE49-F238E27FC236}">
                <a16:creationId xmlns:a16="http://schemas.microsoft.com/office/drawing/2014/main" id="{74851992-30D7-42B3-B2B8-C45586BB778C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3802062" y="29956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21C217-3ED3-427F-B3DB-EB833CEC083D}" type="datetime'''8''''''''''''''2''''%''''''''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8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6" name="Text Placeholder 13">
            <a:extLst>
              <a:ext uri="{FF2B5EF4-FFF2-40B4-BE49-F238E27FC236}">
                <a16:creationId xmlns:a16="http://schemas.microsoft.com/office/drawing/2014/main" id="{E6841D34-E37B-4E0A-82BE-58AB2DF0CBA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968750" y="548322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5AD8922-09B5-4EAB-8D7F-681D3AEB8374}" type="datetime'''''''''''''''''''''''''8''''%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34F2C352-A32F-4C91-A031-917177940BB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96963" y="2995613"/>
            <a:ext cx="1430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95DE12E-5C3A-4C36-96C6-79DAA4CC79F9}" type="datetime'''P''r''ote''cti''o''''''''n'' ''''S''''''''''o''''''''ciale'">
              <a:rPr lang="en-US" altLang="en-US" sz="1400" smtClean="0">
                <a:cs typeface="+mn-cs"/>
              </a:rPr>
              <a:pPr/>
              <a:t>Protection Sociale</a:t>
            </a:fld>
            <a:endParaRPr lang="en-US" sz="1400" dirty="0">
              <a:cs typeface="+mn-cs"/>
            </a:endParaRPr>
          </a:p>
        </p:txBody>
      </p:sp>
      <p:sp>
        <p:nvSpPr>
          <p:cNvPr id="246" name="Text Placeholder 13">
            <a:extLst>
              <a:ext uri="{FF2B5EF4-FFF2-40B4-BE49-F238E27FC236}">
                <a16:creationId xmlns:a16="http://schemas.microsoft.com/office/drawing/2014/main" id="{D9106EE3-94A0-4D64-8B3F-42BC49E2FD4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019425" y="55419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223A7C-41D2-4A33-B55B-B3737F74BF41}" type="datetime'''6''''''''''''''''''''''''''''''''6''''%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6%</a:t>
            </a:fld>
            <a:endParaRPr lang="en-US" sz="1400" dirty="0">
              <a:cs typeface="+mn-cs"/>
            </a:endParaRPr>
          </a:p>
        </p:txBody>
      </p:sp>
      <p:sp>
        <p:nvSpPr>
          <p:cNvPr id="95" name="Text Placeholder 13">
            <a:extLst>
              <a:ext uri="{FF2B5EF4-FFF2-40B4-BE49-F238E27FC236}">
                <a16:creationId xmlns:a16="http://schemas.microsoft.com/office/drawing/2014/main" id="{B4C921BA-BD4C-474C-AABA-BF321AB8C535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830763" y="3844925"/>
            <a:ext cx="406400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3AF59D-18A6-4260-ABAE-8F20A17E66D5}" type="datetime'''''''''''''''''''''1''3''''''''''%''''''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%</a:t>
            </a:fld>
            <a:endParaRPr lang="en-US" sz="1400" dirty="0">
              <a:cs typeface="+mn-cs"/>
            </a:endParaRPr>
          </a:p>
        </p:txBody>
      </p:sp>
      <p:sp>
        <p:nvSpPr>
          <p:cNvPr id="134" name="Text Placeholder 13">
            <a:extLst>
              <a:ext uri="{FF2B5EF4-FFF2-40B4-BE49-F238E27FC236}">
                <a16:creationId xmlns:a16="http://schemas.microsoft.com/office/drawing/2014/main" id="{FE3D3EE3-AD53-4047-8F18-4F60A694DA09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852738" y="6391275"/>
            <a:ext cx="406400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69CC42-8CF4-4314-AD51-6AE5CB69F77A}" type="datetime'''''''''''''''2''''''''''''''''''''''''0''%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39" name="Text Placeholder 13">
            <a:extLst>
              <a:ext uri="{FF2B5EF4-FFF2-40B4-BE49-F238E27FC236}">
                <a16:creationId xmlns:a16="http://schemas.microsoft.com/office/drawing/2014/main" id="{750B2AEF-1A88-4414-AC3D-C5DB206DF5F0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968625" y="38449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4BDCBF-C9C4-496E-9D30-B0B8B5B0468A}" type="datetime'''''''2''''''''''''''''''''9''''''''''''''''''''''''''''''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8" name="Text Placeholder 13">
            <a:extLst>
              <a:ext uri="{FF2B5EF4-FFF2-40B4-BE49-F238E27FC236}">
                <a16:creationId xmlns:a16="http://schemas.microsoft.com/office/drawing/2014/main" id="{145BBFB4-95DB-4F80-A9F4-1BA57F7A488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435475" y="4251325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BBEBC62-C199-4DA0-83FA-B813CEBE6D59}" type="datetime'''''''''''''''''''''''''''8''''''''''''''1'''''''''''''''''''">
              <a:rPr lang="en-US" altLang="en-US" sz="1400" smtClean="0">
                <a:cs typeface="+mn-cs"/>
              </a:rPr>
              <a:pPr/>
              <a:t>81</a:t>
            </a:fld>
            <a:endParaRPr lang="en-US" sz="1400" dirty="0">
              <a:cs typeface="+mn-cs"/>
            </a:endParaRPr>
          </a:p>
        </p:txBody>
      </p:sp>
      <p:sp>
        <p:nvSpPr>
          <p:cNvPr id="117" name="Text Placeholder 13">
            <a:extLst>
              <a:ext uri="{FF2B5EF4-FFF2-40B4-BE49-F238E27FC236}">
                <a16:creationId xmlns:a16="http://schemas.microsoft.com/office/drawing/2014/main" id="{55663E9F-4C16-404D-965D-EF5CAC7CE2B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108450" y="4268788"/>
            <a:ext cx="30797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887472-2ACB-4BC8-8572-5067FBB12333}" type="datetime'''''''''''''''4''''''%''''''''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40" name="Text Placeholder 13">
            <a:extLst>
              <a:ext uri="{FF2B5EF4-FFF2-40B4-BE49-F238E27FC236}">
                <a16:creationId xmlns:a16="http://schemas.microsoft.com/office/drawing/2014/main" id="{808DD4A6-4FE6-4C14-93D3-FCD453E6181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325813" y="42687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3FDDE6-0DF0-4FE8-A33E-11055C44AB40}" type="datetime'''''9''''''''''''''''''''''''''''''5''''%'''">
              <a:rPr lang="en-US" altLang="en-US" sz="1400" smtClean="0">
                <a:cs typeface="+mn-cs"/>
              </a:rPr>
              <a:pPr/>
              <a:t>95%</a:t>
            </a:fld>
            <a:endParaRPr lang="en-US" sz="1400" dirty="0">
              <a:cs typeface="+mn-cs"/>
            </a:endParaRP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D3260FAB-CBF3-4B16-B367-39A33844F79A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698625" y="4268788"/>
            <a:ext cx="828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4CCEE78-3E8B-4EA6-905A-BB3A99360F35}" type="datetime'''P''''''''''a''lu''''d''''''''''i''s''''''''''''''''''me'''''">
              <a:rPr lang="en-US" altLang="en-US" sz="1400" smtClean="0">
                <a:cs typeface="+mn-cs"/>
              </a:rPr>
              <a:pPr/>
              <a:t>Paludisme</a:t>
            </a:fld>
            <a:endParaRPr lang="en-US" sz="1400" dirty="0">
              <a:cs typeface="+mn-cs"/>
            </a:endParaRPr>
          </a:p>
        </p:txBody>
      </p:sp>
      <p:sp>
        <p:nvSpPr>
          <p:cNvPr id="242" name="Text Placeholder 13">
            <a:extLst>
              <a:ext uri="{FF2B5EF4-FFF2-40B4-BE49-F238E27FC236}">
                <a16:creationId xmlns:a16="http://schemas.microsoft.com/office/drawing/2014/main" id="{34B1AF01-A86E-47D3-A1F6-ED113826726E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403600" y="46926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964C7-8435-4DB9-A75B-0E39538436C5}" type="datetime'6''''''''''''''''''''''''''5''%'''''''''''''''''''''">
              <a:rPr lang="en-US" altLang="en-US" sz="1400" smtClean="0">
                <a:cs typeface="+mn-cs"/>
              </a:rPr>
              <a:pPr/>
              <a:t>65%</a:t>
            </a:fld>
            <a:endParaRPr lang="en-US" sz="1400" dirty="0">
              <a:cs typeface="+mn-cs"/>
            </a:endParaRPr>
          </a:p>
        </p:txBody>
      </p:sp>
      <p:sp>
        <p:nvSpPr>
          <p:cNvPr id="123" name="Text Placeholder 13">
            <a:extLst>
              <a:ext uri="{FF2B5EF4-FFF2-40B4-BE49-F238E27FC236}">
                <a16:creationId xmlns:a16="http://schemas.microsoft.com/office/drawing/2014/main" id="{908186AE-0803-4F6B-9CF0-9804D3B17493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106738" y="51181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79EB54-260A-4107-88B0-E2F8D11360A2}" type="datetime'''''''7''''''''''''''''''''''''''''''''''''''''''0''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7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44" name="Text Placeholder 13">
            <a:extLst>
              <a:ext uri="{FF2B5EF4-FFF2-40B4-BE49-F238E27FC236}">
                <a16:creationId xmlns:a16="http://schemas.microsoft.com/office/drawing/2014/main" id="{AD9C25D7-80EF-40EB-AE59-E04B82F6EBC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605214" y="5245100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416FCAA-5D1C-4F1E-A8C5-AB441BC535A2}" type="datetime'''''''''''''''''''''''''7''''''''''''''''%'''''''">
              <a:rPr lang="en-US" altLang="en-US" sz="1400" smtClean="0">
                <a:cs typeface="+mn-cs"/>
              </a:rPr>
              <a:pPr/>
              <a:t>7%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8E11B1-0698-436B-B0A8-3D8BD3CD8D3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20663" y="5118100"/>
            <a:ext cx="23066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431531B-938B-4945-9BB5-97C26CC15DD1}" type="datetime'Mala''d''''ies'''' Non Tr''an''sm''is''''si''bl''e''s'''''">
              <a:rPr lang="fr-FR" altLang="en-US" sz="1400" smtClean="0">
                <a:cs typeface="+mn-cs"/>
              </a:rPr>
              <a:pPr/>
              <a:t>Maladies Non Transmissibles</a:t>
            </a:fld>
            <a:endParaRPr lang="en-US" sz="1400" dirty="0">
              <a:cs typeface="+mn-cs"/>
            </a:endParaRP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FCF10A1B-429A-43F7-A05C-DF14F9050AE1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835150" y="3419475"/>
            <a:ext cx="692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AA27A3-1320-49C7-81F7-ABF47F985043}" type="datetime'''''''''''''''S''''''''''RM''''N''''''''''I''''''''''''A'''">
              <a:rPr lang="en-US" altLang="en-US" sz="1400" smtClean="0">
                <a:cs typeface="+mn-cs"/>
              </a:rPr>
              <a:pPr/>
              <a:t>SRMNIA</a:t>
            </a:fld>
            <a:endParaRPr lang="en-US" sz="1400" dirty="0">
              <a:cs typeface="+mn-cs"/>
            </a:endParaRPr>
          </a:p>
        </p:txBody>
      </p:sp>
      <p:sp>
        <p:nvSpPr>
          <p:cNvPr id="112" name="Text Placeholder 13">
            <a:extLst>
              <a:ext uri="{FF2B5EF4-FFF2-40B4-BE49-F238E27FC236}">
                <a16:creationId xmlns:a16="http://schemas.microsoft.com/office/drawing/2014/main" id="{389C7F77-24AD-4130-BF30-3064119BF8FA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5483225" y="3419475"/>
            <a:ext cx="30797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228955-2E2B-47B1-873F-34FC2203CAAF}" type="datetime'''''''''''''''''''''''''''2''''''%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0E94A68-3597-45FB-8989-8F1D7E67E683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390650" y="5541963"/>
            <a:ext cx="1136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282EDA1-C714-4A20-872E-BAB158DFFEA9}" type="datetime'V''I''H'''''''','''''' ''S''''ID''A''''/IST'''''">
              <a:rPr lang="en-US" altLang="en-US" sz="1400" smtClean="0">
                <a:cs typeface="+mn-cs"/>
              </a:rPr>
              <a:pPr/>
              <a:t>VIH, SIDA/IST</a:t>
            </a:fld>
            <a:endParaRPr lang="en-US" sz="1400" dirty="0">
              <a:cs typeface="+mn-cs"/>
            </a:endParaRPr>
          </a:p>
        </p:txBody>
      </p:sp>
      <p:sp>
        <p:nvSpPr>
          <p:cNvPr id="248" name="Text Placeholder 13">
            <a:extLst>
              <a:ext uri="{FF2B5EF4-FFF2-40B4-BE49-F238E27FC236}">
                <a16:creationId xmlns:a16="http://schemas.microsoft.com/office/drawing/2014/main" id="{4DD8F962-16F9-4734-A5AC-15E9A5412E3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3290888" y="60975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983F18-556C-464B-85F2-BAD38A625EEB}" type="datetime'''''''''8''''8''''''''''''''''''''''''''''%'''''''''''''''''">
              <a:rPr lang="en-US" altLang="en-US" sz="1400" smtClean="0">
                <a:cs typeface="+mn-cs"/>
              </a:rPr>
              <a:pPr/>
              <a:t>88%</a:t>
            </a:fld>
            <a:endParaRPr lang="en-US" sz="1400" dirty="0">
              <a:cs typeface="+mn-cs"/>
            </a:endParaRPr>
          </a:p>
        </p:txBody>
      </p:sp>
      <p:sp>
        <p:nvSpPr>
          <p:cNvPr id="114" name="Text Placeholder 13">
            <a:extLst>
              <a:ext uri="{FF2B5EF4-FFF2-40B4-BE49-F238E27FC236}">
                <a16:creationId xmlns:a16="http://schemas.microsoft.com/office/drawing/2014/main" id="{39D270F9-F71F-4DB1-8100-E7AC4584FD20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5316538" y="384492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48A711-824E-4B9F-927C-BF55FFACDFDA}" type="datetime'4''''''''''''''''''''''''''''''%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98" name="Text Placeholder 13">
            <a:extLst>
              <a:ext uri="{FF2B5EF4-FFF2-40B4-BE49-F238E27FC236}">
                <a16:creationId xmlns:a16="http://schemas.microsoft.com/office/drawing/2014/main" id="{496A6A60-7465-4918-AA18-F30A274F84D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3709988" y="63230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AE3590-6337-4D39-BAC2-D9E6A9902922}" type="datetime'''''''''''''''''''''''''6''''''''''''''1''''''%'''''''">
              <a:rPr lang="en-US" altLang="en-US" sz="1400" smtClean="0">
                <a:cs typeface="+mn-cs"/>
              </a:rPr>
              <a:pPr/>
              <a:t>61%</a:t>
            </a:fld>
            <a:endParaRPr lang="en-US" sz="1400" dirty="0">
              <a:cs typeface="+mn-cs"/>
            </a:endParaRPr>
          </a:p>
        </p:txBody>
      </p:sp>
      <p:sp>
        <p:nvSpPr>
          <p:cNvPr id="237" name="Text Placeholder 13">
            <a:extLst>
              <a:ext uri="{FF2B5EF4-FFF2-40B4-BE49-F238E27FC236}">
                <a16:creationId xmlns:a16="http://schemas.microsoft.com/office/drawing/2014/main" id="{54BFC4F6-E074-4586-95D8-6CDBAD4F8BF4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2722564" y="3419475"/>
            <a:ext cx="3079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116CDC-2102-4548-AC83-C8DDC4315AB4}" type="datetime'''''''''''''''5''''''''''''''''''''''''''''%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41" name="Text Placeholder 13">
            <a:extLst>
              <a:ext uri="{FF2B5EF4-FFF2-40B4-BE49-F238E27FC236}">
                <a16:creationId xmlns:a16="http://schemas.microsoft.com/office/drawing/2014/main" id="{EE18E179-12DD-4373-84CA-80287D27AE8E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2663825" y="4268788"/>
            <a:ext cx="3079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4C0B06-E343-4F34-84D4-F234089E87C7}" type="datetime'''''''''''''''''''''1''''''''''''''''''''''''''''%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75" name="Text Placeholder 13">
            <a:extLst>
              <a:ext uri="{FF2B5EF4-FFF2-40B4-BE49-F238E27FC236}">
                <a16:creationId xmlns:a16="http://schemas.microsoft.com/office/drawing/2014/main" id="{B0BE2FA9-3884-4C5E-9E93-8C66C2BCE698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558925" y="6391275"/>
            <a:ext cx="968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CDCAF9-6E73-484C-A40A-714887BC401B}" type="datetime'T''ub''''''''erc''''''''''ulo''''s''''''e'''''''''''''">
              <a:rPr lang="en-US" altLang="en-US" sz="1400" smtClean="0">
                <a:cs typeface="+mn-cs"/>
              </a:rPr>
              <a:pPr/>
              <a:t>Tuberculose</a:t>
            </a:fld>
            <a:endParaRPr lang="en-US" sz="1400" dirty="0">
              <a:cs typeface="+mn-cs"/>
            </a:endParaRPr>
          </a:p>
        </p:txBody>
      </p:sp>
      <p:sp>
        <p:nvSpPr>
          <p:cNvPr id="332" name="Text Placeholder 13">
            <a:extLst>
              <a:ext uri="{FF2B5EF4-FFF2-40B4-BE49-F238E27FC236}">
                <a16:creationId xmlns:a16="http://schemas.microsoft.com/office/drawing/2014/main" id="{01A1C490-23F9-4A01-8A62-31F97C072C0D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11763375" y="1654175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65A47C-F702-44CA-B159-F7F984214969}" type="datetime'''4''8''''''''''''''''''''''''6'''''''''''''''''''''''''''">
              <a:rPr lang="en-US" altLang="en-US" sz="1400" smtClean="0">
                <a:cs typeface="+mn-cs"/>
              </a:rPr>
              <a:pPr/>
              <a:t>486</a:t>
            </a:fld>
            <a:endParaRPr lang="en-US" sz="1400" dirty="0">
              <a:cs typeface="+mn-cs"/>
            </a:endParaRPr>
          </a:p>
        </p:txBody>
      </p:sp>
      <p:sp>
        <p:nvSpPr>
          <p:cNvPr id="236" name="Text Placeholder 13">
            <a:extLst>
              <a:ext uri="{FF2B5EF4-FFF2-40B4-BE49-F238E27FC236}">
                <a16:creationId xmlns:a16="http://schemas.microsoft.com/office/drawing/2014/main" id="{B60C025A-6E6B-4EB5-87C2-CC879B0960D8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4070349" y="34194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2FBF1D3-B2EB-4E0A-AD8F-9C32662C0819}" type="datetime'''''''''''''''''''''''''''''93%''''''''''''''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3%</a:t>
            </a:fld>
            <a:endParaRPr lang="en-US" sz="1400" dirty="0">
              <a:cs typeface="+mn-cs"/>
            </a:endParaRPr>
          </a:p>
        </p:txBody>
      </p:sp>
      <p:sp>
        <p:nvSpPr>
          <p:cNvPr id="335" name="Text Placeholder 13">
            <a:extLst>
              <a:ext uri="{FF2B5EF4-FFF2-40B4-BE49-F238E27FC236}">
                <a16:creationId xmlns:a16="http://schemas.microsoft.com/office/drawing/2014/main" id="{60603ACD-C36B-4250-B1A3-0670B1C4691D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7075488" y="2928938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317DB7-D200-441A-BF0A-DB4A17B83E42}" type="datetime'''''''''1''''5''''''''''''''''''''''''''''''9'''''''''''''">
              <a:rPr lang="en-US" altLang="en-US" sz="1400" smtClean="0">
                <a:cs typeface="+mn-cs"/>
              </a:rPr>
              <a:pPr/>
              <a:t>159</a:t>
            </a:fld>
            <a:endParaRPr lang="en-US" sz="1400" dirty="0">
              <a:cs typeface="+mn-cs"/>
            </a:endParaRPr>
          </a:p>
        </p:txBody>
      </p:sp>
      <p:sp>
        <p:nvSpPr>
          <p:cNvPr id="336" name="Text Placeholder 13">
            <a:extLst>
              <a:ext uri="{FF2B5EF4-FFF2-40B4-BE49-F238E27FC236}">
                <a16:creationId xmlns:a16="http://schemas.microsoft.com/office/drawing/2014/main" id="{23684527-2D63-4887-A3E6-0FFF9C435493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5810250" y="3352800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5F76B7-7B52-4115-8B80-E03658E096D1}" type="datetime'1''5''''''''''6'''''''''''''''''''''''''">
              <a:rPr lang="en-US" altLang="en-US" sz="1400" smtClean="0">
                <a:cs typeface="+mn-cs"/>
              </a:rPr>
              <a:pPr/>
              <a:t>156</a:t>
            </a:fld>
            <a:endParaRPr lang="en-US" sz="1400" dirty="0">
              <a:cs typeface="+mn-cs"/>
            </a:endParaRPr>
          </a:p>
        </p:txBody>
      </p:sp>
      <p:sp>
        <p:nvSpPr>
          <p:cNvPr id="337" name="Text Placeholder 13">
            <a:extLst>
              <a:ext uri="{FF2B5EF4-FFF2-40B4-BE49-F238E27FC236}">
                <a16:creationId xmlns:a16="http://schemas.microsoft.com/office/drawing/2014/main" id="{4448201D-B2D9-4A49-9976-2FEDE444BE57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5624513" y="3778250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3850689-3CAB-45EF-87E5-9E8090D711D2}" type="datetime'''''''''''''''''''''''''''''1''''''''''''''''3''''5'">
              <a:rPr lang="en-US" altLang="en-US" sz="1400" smtClean="0">
                <a:cs typeface="+mn-cs"/>
              </a:rPr>
              <a:pPr/>
              <a:t>135</a:t>
            </a:fld>
            <a:endParaRPr lang="en-US" sz="1400" dirty="0">
              <a:cs typeface="+mn-cs"/>
            </a:endParaRPr>
          </a:p>
        </p:txBody>
      </p:sp>
      <p:sp>
        <p:nvSpPr>
          <p:cNvPr id="339" name="Text Placeholder 13">
            <a:extLst>
              <a:ext uri="{FF2B5EF4-FFF2-40B4-BE49-F238E27FC236}">
                <a16:creationId xmlns:a16="http://schemas.microsoft.com/office/drawing/2014/main" id="{90CAE508-5E26-4870-8FFF-CDB9074FAA5A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4016375" y="4675188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9130AA-5426-451F-ABFD-A00DC012E02D}" type="datetime'6''4'''''''''''''''''''''''''''''''''''''''''''''''">
              <a:rPr lang="en-US" altLang="en-US" sz="1400" smtClean="0">
                <a:cs typeface="+mn-cs"/>
              </a:rPr>
              <a:pPr/>
              <a:t>64</a:t>
            </a:fld>
            <a:endParaRPr lang="en-US" sz="1400" dirty="0">
              <a:cs typeface="+mn-cs"/>
            </a:endParaRPr>
          </a:p>
        </p:txBody>
      </p:sp>
      <p:sp>
        <p:nvSpPr>
          <p:cNvPr id="340" name="Text Placeholder 13">
            <a:extLst>
              <a:ext uri="{FF2B5EF4-FFF2-40B4-BE49-F238E27FC236}">
                <a16:creationId xmlns:a16="http://schemas.microsoft.com/office/drawing/2014/main" id="{F29177EE-7DE8-4468-A229-EE1CDB5AB93C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3913188" y="5100638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517C88-AC87-429B-B06E-A118D9883CBA}" type="datetime'''''''''''''''''''''''''''''''42'''''''''''''''''''''">
              <a:rPr lang="en-US" altLang="en-US" sz="1400" smtClean="0">
                <a:cs typeface="+mn-cs"/>
              </a:rPr>
              <a:pPr/>
              <a:t>42</a:t>
            </a:fld>
            <a:endParaRPr lang="en-US" sz="1400" dirty="0">
              <a:cs typeface="+mn-cs"/>
            </a:endParaRPr>
          </a:p>
        </p:txBody>
      </p:sp>
      <p:sp>
        <p:nvSpPr>
          <p:cNvPr id="341" name="Text Placeholder 13">
            <a:extLst>
              <a:ext uri="{FF2B5EF4-FFF2-40B4-BE49-F238E27FC236}">
                <a16:creationId xmlns:a16="http://schemas.microsoft.com/office/drawing/2014/main" id="{8E35564A-CCFC-456C-B5E0-FEF977D67CEC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4276725" y="5524500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AE2015-2293-48BF-BC39-49A66CE55CA2}" type="datetime'''3''''''''''''''''''''''''''''''''''''''''''''''''8'''''''''">
              <a:rPr lang="en-US" altLang="en-US" sz="1400" smtClean="0">
                <a:cs typeface="+mn-cs"/>
              </a:rPr>
              <a:pPr/>
              <a:t>38</a:t>
            </a:fld>
            <a:endParaRPr lang="en-US" sz="1400" dirty="0">
              <a:cs typeface="+mn-cs"/>
            </a:endParaRPr>
          </a:p>
        </p:txBody>
      </p:sp>
      <p:sp>
        <p:nvSpPr>
          <p:cNvPr id="342" name="Text Placeholder 13">
            <a:extLst>
              <a:ext uri="{FF2B5EF4-FFF2-40B4-BE49-F238E27FC236}">
                <a16:creationId xmlns:a16="http://schemas.microsoft.com/office/drawing/2014/main" id="{188A4719-545F-4B01-9DB5-1C1ECE0F836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3697288" y="5949950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737F2D-BD2C-4555-975D-E68B5D703FE5}" type="datetime'1''''''''5'''">
              <a:rPr lang="en-US" altLang="en-US" sz="1400" smtClean="0">
                <a:cs typeface="+mn-cs"/>
              </a:rPr>
              <a:pPr/>
              <a:t>15</a:t>
            </a:fld>
            <a:endParaRPr lang="en-US" sz="1400" dirty="0">
              <a:cs typeface="+mn-cs"/>
            </a:endParaRPr>
          </a:p>
        </p:txBody>
      </p:sp>
      <p:sp>
        <p:nvSpPr>
          <p:cNvPr id="96" name="Text Placeholder 13">
            <a:extLst>
              <a:ext uri="{FF2B5EF4-FFF2-40B4-BE49-F238E27FC236}">
                <a16:creationId xmlns:a16="http://schemas.microsoft.com/office/drawing/2014/main" id="{2452CF55-74A1-4706-91DD-B1203DC203A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4116388" y="6373813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20F4F-79C7-4EE8-81F7-CC13BAA0BA22}" type="datetime'''''''''''''''''''''''1''''''''''5'''''">
              <a:rPr lang="en-US" altLang="en-US" sz="1400" smtClean="0">
                <a:cs typeface="+mn-cs"/>
              </a:rPr>
              <a:pPr/>
              <a:t>15</a:t>
            </a:fld>
            <a:endParaRPr lang="en-US" sz="1400" dirty="0">
              <a:cs typeface="+mn-cs"/>
            </a:endParaRPr>
          </a:p>
        </p:txBody>
      </p:sp>
      <p:sp>
        <p:nvSpPr>
          <p:cNvPr id="334" name="Text Placeholder 13">
            <a:extLst>
              <a:ext uri="{FF2B5EF4-FFF2-40B4-BE49-F238E27FC236}">
                <a16:creationId xmlns:a16="http://schemas.microsoft.com/office/drawing/2014/main" id="{05EA0FD0-FEA7-4E50-B351-F21525DA4FB9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6988175" y="2503488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3AE279-69EF-459F-906D-C9B376D9AE0B}" type="datetime'2''''''''''''''''''''2''''''''''''''''''''''''6'''''''''">
              <a:rPr lang="en-US" altLang="en-US" sz="1400" smtClean="0">
                <a:cs typeface="+mn-cs"/>
              </a:rPr>
              <a:pPr/>
              <a:t>226</a:t>
            </a:fld>
            <a:endParaRPr lang="en-US" sz="1400" dirty="0">
              <a:cs typeface="+mn-cs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8E7D3174-6C97-4864-9AA4-2A0F0263FDDB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9491663" y="2182813"/>
            <a:ext cx="250825" cy="18732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1279C68B-B34C-42B1-A349-4C7E8C2F2A62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9491663" y="2709863"/>
            <a:ext cx="250825" cy="187325"/>
          </a:xfrm>
          <a:prstGeom prst="rect">
            <a:avLst/>
          </a:prstGeom>
          <a:solidFill>
            <a:srgbClr val="96969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F9B76D2A-D392-474C-932C-931858EC4575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9491663" y="2446338"/>
            <a:ext cx="250825" cy="1873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1E530F6D-062C-4221-B087-F411786AB13A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9491663" y="2973388"/>
            <a:ext cx="250825" cy="187325"/>
          </a:xfrm>
          <a:prstGeom prst="rect">
            <a:avLst/>
          </a:prstGeom>
          <a:solidFill>
            <a:srgbClr val="FFC90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5" name="Rectangle 184">
            <a:extLst>
              <a:ext uri="{FF2B5EF4-FFF2-40B4-BE49-F238E27FC236}">
                <a16:creationId xmlns:a16="http://schemas.microsoft.com/office/drawing/2014/main" id="{265AF78E-C3FF-4D57-8277-174785A6236A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9491663" y="3236913"/>
            <a:ext cx="250825" cy="18732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id="{7A63AF9E-8883-457F-B900-8434FE209944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9793288" y="3232150"/>
            <a:ext cx="1044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462751-B71B-4710-8D7A-4F56E952347E}" type="datetime'S''''''''e''c''''teu''''''''''r ''''p''r''''''i''v''''é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A6D2EFBD-6000-4BFE-8E38-CA3464995383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9793288" y="2178050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53DDAD1-0541-4971-A507-06486111AA89}" type="datetime'E''''''t''''''''''''''''''''''''''''''a''''''''t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140" name="Text Placeholder 13">
            <a:extLst>
              <a:ext uri="{FF2B5EF4-FFF2-40B4-BE49-F238E27FC236}">
                <a16:creationId xmlns:a16="http://schemas.microsoft.com/office/drawing/2014/main" id="{20925677-C126-4443-82EF-F9DD8D94DF13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9793288" y="2705100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B155009-D870-43F5-A9F4-1FB4B061B652}" type="datetime'Col''''''l''''ect''iv''it''és'' ter''''ritor''ia''le''''s'''">
              <a:rPr lang="en-US" altLang="en-US" sz="1400" smtClean="0">
                <a:cs typeface="+mn-cs"/>
              </a:rPr>
              <a:pPr/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0D01A3F0-4F03-4735-AB53-A19ED2026E9D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9793288" y="2441575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4D676AD-FA0D-4F67-9E88-AFB405EFB910}" type="datetime'''''P''''''''''''''''''''''T''F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139" name="Text Placeholder 13">
            <a:extLst>
              <a:ext uri="{FF2B5EF4-FFF2-40B4-BE49-F238E27FC236}">
                <a16:creationId xmlns:a16="http://schemas.microsoft.com/office/drawing/2014/main" id="{BA15B796-C39A-459A-84F5-F503039533A4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9793288" y="2968625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322117B-974C-4314-94BA-DCA8712DA94A}" type="datetime'''''''M''''''''''''éna''g''e''''''''''''''''''''s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id="{CF55F515-2E6C-4119-B16B-4CEB1427E6BE}"/>
              </a:ext>
            </a:extLst>
          </p:cNvPr>
          <p:cNvSpPr txBox="1"/>
          <p:nvPr/>
        </p:nvSpPr>
        <p:spPr>
          <a:xfrm>
            <a:off x="2208836" y="1031013"/>
            <a:ext cx="76568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par source de financement et par programme (Milliards CFA)</a:t>
            </a:r>
          </a:p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D69E1B25-7AD4-468D-93B8-B22AAE6F506E}"/>
              </a:ext>
            </a:extLst>
          </p:cNvPr>
          <p:cNvSpPr txBox="1"/>
          <p:nvPr/>
        </p:nvSpPr>
        <p:spPr>
          <a:xfrm>
            <a:off x="6292849" y="3641725"/>
            <a:ext cx="5581651" cy="23256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274320" rtlCol="0" anchor="ctr" anchorCtr="0">
            <a:noAutofit/>
          </a:bodyPr>
          <a:lstStyle>
            <a:defPPr>
              <a:defRPr lang="en-US"/>
            </a:defPPr>
            <a:lvl1pPr marL="285750" indent="-285750" algn="justLow">
              <a:buFont typeface="Arial" panose="020B0604020202020204" pitchFamily="34" charset="0"/>
              <a:buChar char="•"/>
            </a:lvl1pPr>
          </a:lstStyle>
          <a:p>
            <a:r>
              <a:rPr lang="fr-FR" dirty="0"/>
              <a:t>Ressources publiques allouées sur des programmes transversaux</a:t>
            </a:r>
          </a:p>
          <a:p>
            <a:endParaRPr lang="fr-FR" dirty="0"/>
          </a:p>
          <a:p>
            <a:r>
              <a:rPr lang="fr-FR" dirty="0"/>
              <a:t>PTF viennent en complémentarité apportant un appui sur des programmes ciblés</a:t>
            </a:r>
          </a:p>
          <a:p>
            <a:endParaRPr lang="fr-FR" dirty="0"/>
          </a:p>
          <a:p>
            <a:r>
              <a:rPr lang="fr-FR" dirty="0"/>
              <a:t>Les ménages participent par des paiements directs </a:t>
            </a:r>
          </a:p>
        </p:txBody>
      </p:sp>
      <p:sp>
        <p:nvSpPr>
          <p:cNvPr id="87" name="Title 2">
            <a:extLst>
              <a:ext uri="{FF2B5EF4-FFF2-40B4-BE49-F238E27FC236}">
                <a16:creationId xmlns:a16="http://schemas.microsoft.com/office/drawing/2014/main" id="{2D9D79AB-86EB-4FF5-8313-36E6685F4830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u PNDSS par catégorie de programmes et par source de financement (2019-2023)</a:t>
            </a:r>
          </a:p>
        </p:txBody>
      </p:sp>
    </p:spTree>
    <p:extLst>
      <p:ext uri="{BB962C8B-B14F-4D97-AF65-F5344CB8AC3E}">
        <p14:creationId xmlns:p14="http://schemas.microsoft.com/office/powerpoint/2010/main" val="6288679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08E3A75C-3020-405E-B73C-20DDE90D57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6637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96" imgW="416" imgH="416" progId="TCLayout.ActiveDocument.1">
                  <p:embed/>
                </p:oleObj>
              </mc:Choice>
              <mc:Fallback>
                <p:oleObj name="think-cell Slide" r:id="rId96" imgW="416" imgH="416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08E3A75C-3020-405E-B73C-20DDE90D57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8" name="Chart 127">
            <a:extLst>
              <a:ext uri="{FF2B5EF4-FFF2-40B4-BE49-F238E27FC236}">
                <a16:creationId xmlns:a16="http://schemas.microsoft.com/office/drawing/2014/main" id="{7C9AFDC9-255F-4065-B6D7-3C1D68C6D9C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04847022"/>
              </p:ext>
            </p:extLst>
          </p:nvPr>
        </p:nvGraphicFramePr>
        <p:xfrm>
          <a:off x="3429000" y="1709738"/>
          <a:ext cx="8061325" cy="48466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8"/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93178D86-E078-44C5-AA90-7BB60A2BEB55}"/>
              </a:ext>
            </a:extLst>
          </p:cNvPr>
          <p:cNvCxnSpPr/>
          <p:nvPr>
            <p:custDataLst>
              <p:tags r:id="rId4"/>
            </p:custDataLst>
          </p:nvPr>
        </p:nvCxnSpPr>
        <p:spPr bwMode="white">
          <a:xfrm>
            <a:off x="3544888" y="6113463"/>
            <a:ext cx="212725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9700E70-C41C-4CB8-B3B1-1906A2E31A3B}"/>
              </a:ext>
            </a:extLst>
          </p:cNvPr>
          <p:cNvCxnSpPr/>
          <p:nvPr>
            <p:custDataLst>
              <p:tags r:id="rId5"/>
            </p:custDataLst>
          </p:nvPr>
        </p:nvCxnSpPr>
        <p:spPr bwMode="white">
          <a:xfrm>
            <a:off x="3516313" y="6113463"/>
            <a:ext cx="28575" cy="0"/>
          </a:xfrm>
          <a:prstGeom prst="line">
            <a:avLst/>
          </a:prstGeom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BCDC90-047D-446F-8703-E01464A3725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6643688" y="3181350"/>
            <a:ext cx="9620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FCE8D2CD-F7B5-4472-AB23-13BCE16C340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8093075" y="3200400"/>
            <a:ext cx="0" cy="63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C5A8B37-F078-42B6-B966-D80AC65C1EF7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3786188" y="5514975"/>
            <a:ext cx="1190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68A72CA-DA1E-4996-91D4-849D39AFC68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6735763" y="3206750"/>
            <a:ext cx="13573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EE1F4415-67F9-47D7-BB0D-531354887F3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4760913" y="4492625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7DD07D9-6B3A-4383-9879-B9C2A6603501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4491038" y="5573713"/>
            <a:ext cx="0" cy="206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4692AC9-E6C0-4D4E-B101-62760A87D95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4860925" y="4073525"/>
            <a:ext cx="6397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CD6554A-B789-49A9-94E7-62F4DA85AE23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4756150" y="4194175"/>
            <a:ext cx="1587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5D0F662-93B4-45C1-8E28-6FEE5C5F2A96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 flipV="1">
            <a:off x="5500688" y="4073525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CD5E952-2A64-467B-B9CD-A4FDBE09B9F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3868738" y="5594350"/>
            <a:ext cx="6223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2BA5299E-EA0A-4640-B09E-F8F8DE32EB2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3683000" y="4748213"/>
            <a:ext cx="527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97E24140-0642-4F19-9374-16E670348294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4824413" y="5573713"/>
            <a:ext cx="0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06AF69F-C807-45F1-99CB-B9184B6E69B6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3876675" y="5673725"/>
            <a:ext cx="9477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026AB48-65F1-4AA3-9F58-AC3A3BD73CD1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 flipV="1">
            <a:off x="4465638" y="5873750"/>
            <a:ext cx="0" cy="301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A053FF7A-9E6E-497D-BBA7-A5B7C6768ACF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H="1">
            <a:off x="3741738" y="5873750"/>
            <a:ext cx="7239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0C5AC580-3B7B-4818-B137-713B3DFAA468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 flipH="1">
            <a:off x="3529013" y="5994400"/>
            <a:ext cx="3143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8" name="Text Placeholder 13">
            <a:extLst>
              <a:ext uri="{FF2B5EF4-FFF2-40B4-BE49-F238E27FC236}">
                <a16:creationId xmlns:a16="http://schemas.microsoft.com/office/drawing/2014/main" id="{97F971B4-3655-4EF5-BDE1-5D89A464CDE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330700" y="29464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D39A0D-66BC-4A1A-92DA-11C923C18975}" type="datetime'''5''''''''''''''''''''''''''''0''''''''''''''''%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5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8" name="Text Placeholder 13">
            <a:extLst>
              <a:ext uri="{FF2B5EF4-FFF2-40B4-BE49-F238E27FC236}">
                <a16:creationId xmlns:a16="http://schemas.microsoft.com/office/drawing/2014/main" id="{91F6E0A4-8EA0-4C41-8A14-2193C0428553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097463" y="22256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EEE040C-F93F-479E-A6AE-C3A14D1438E7}" type="datetime'''''''''''''''''2''''''''''''4''''''''''''''%'''''">
              <a:rPr lang="en-US" altLang="en-US" sz="1400" smtClean="0">
                <a:cs typeface="+mn-cs"/>
              </a:rPr>
              <a:pPr/>
              <a:t>24%</a:t>
            </a:fld>
            <a:endParaRPr lang="en-US" sz="1400" dirty="0">
              <a:cs typeface="+mn-cs"/>
            </a:endParaRPr>
          </a:p>
        </p:txBody>
      </p:sp>
      <p:sp>
        <p:nvSpPr>
          <p:cNvPr id="112" name="Text Placeholder 13">
            <a:extLst>
              <a:ext uri="{FF2B5EF4-FFF2-40B4-BE49-F238E27FC236}">
                <a16:creationId xmlns:a16="http://schemas.microsoft.com/office/drawing/2014/main" id="{B4EE1CBB-8B58-4111-88DB-80F07C843342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894138" y="33051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CFD28-5151-4ACB-880B-1B9AB363D79D}" type="datetime'''''''4''''''''''''''''''''''''''''2''''''''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4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7" name="Text Placeholder 13">
            <a:extLst>
              <a:ext uri="{FF2B5EF4-FFF2-40B4-BE49-F238E27FC236}">
                <a16:creationId xmlns:a16="http://schemas.microsoft.com/office/drawing/2014/main" id="{F7946A63-BD4E-4DE1-86C4-877511D2F79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821113" y="36655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9E1794-14A7-4066-8D64-32824AE3FE25}" type="datetime'''''''''5''''''''''''''''''''''''''4''''''%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5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35" name="Text Placeholder 13">
            <a:extLst>
              <a:ext uri="{FF2B5EF4-FFF2-40B4-BE49-F238E27FC236}">
                <a16:creationId xmlns:a16="http://schemas.microsoft.com/office/drawing/2014/main" id="{A484D5FD-ED57-4FA2-95F0-FEF9F545977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529013" y="5106988"/>
            <a:ext cx="504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51297D-4026-4AE3-BF5F-03C7590630CF}" type="datetime'''''''''1''''''''''''''0''''''''''''''''''''0%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400" dirty="0">
              <a:cs typeface="+mn-cs"/>
            </a:endParaRPr>
          </a:p>
        </p:txBody>
      </p:sp>
      <p:sp>
        <p:nvSpPr>
          <p:cNvPr id="99" name="Text Placeholder 13">
            <a:extLst>
              <a:ext uri="{FF2B5EF4-FFF2-40B4-BE49-F238E27FC236}">
                <a16:creationId xmlns:a16="http://schemas.microsoft.com/office/drawing/2014/main" id="{6D0E09B6-A92D-46E8-8D68-91F8F97ABDD2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790950" y="22256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F29CB3-FAD3-4CCE-ACEA-12DB110F9DBD}" type="datetime'''''''''''''''''''''''''''14''''''''''''%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0" name="Text Placeholder 13">
            <a:extLst>
              <a:ext uri="{FF2B5EF4-FFF2-40B4-BE49-F238E27FC236}">
                <a16:creationId xmlns:a16="http://schemas.microsoft.com/office/drawing/2014/main" id="{4ABBB519-1B47-4762-97CA-BCA05F6F1E1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162425" y="4025900"/>
            <a:ext cx="406400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B45900-1A20-4831-AA29-25C4E35C2A24}" type="datetime'''''''''''''''''''''''''2''''''''''''''4%''''''''''''''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%</a:t>
            </a:fld>
            <a:endParaRPr lang="en-US" sz="1400" dirty="0">
              <a:cs typeface="+mn-cs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86C7AF0E-0F3D-4465-86B6-94B8908ADE11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71513" y="2247900"/>
            <a:ext cx="25987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099D286-ABCF-4309-B4FC-83954021A21C}" type="datetime'Médi''came''''nts et'''' co''ns''''o''''mmable''s méd''icaux'">
              <a:rPr lang="fr-FR" altLang="en-US" sz="1100" smtClean="0">
                <a:cs typeface="+mn-cs"/>
              </a:rPr>
              <a:pPr/>
              <a:t>Médicaments et consommables médicaux</a:t>
            </a:fld>
            <a:endParaRPr lang="en-US" sz="1100" dirty="0">
              <a:cs typeface="+mn-cs"/>
            </a:endParaRPr>
          </a:p>
        </p:txBody>
      </p:sp>
      <p:sp>
        <p:nvSpPr>
          <p:cNvPr id="103" name="Text Placeholder 13">
            <a:extLst>
              <a:ext uri="{FF2B5EF4-FFF2-40B4-BE49-F238E27FC236}">
                <a16:creationId xmlns:a16="http://schemas.microsoft.com/office/drawing/2014/main" id="{8D1D9975-3A85-4C71-BE62-32F193DB149E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684963" y="25860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AD858F-6A8C-4CAD-9F84-5E4A59715557}" type="datetime'''4''''''''''''''''''''3%'''''''''''''''''''">
              <a:rPr lang="en-US" altLang="en-US" sz="1400" smtClean="0">
                <a:cs typeface="+mn-cs"/>
              </a:rPr>
              <a:pPr/>
              <a:t>43%</a:t>
            </a:fld>
            <a:endParaRPr lang="en-US" sz="1400" dirty="0">
              <a:cs typeface="+mn-cs"/>
            </a:endParaRPr>
          </a:p>
        </p:txBody>
      </p:sp>
      <p:sp>
        <p:nvSpPr>
          <p:cNvPr id="144" name="Text Placeholder 13">
            <a:extLst>
              <a:ext uri="{FF2B5EF4-FFF2-40B4-BE49-F238E27FC236}">
                <a16:creationId xmlns:a16="http://schemas.microsoft.com/office/drawing/2014/main" id="{7E801466-5E57-4941-B86F-9C9315A083F9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3843338" y="5903913"/>
            <a:ext cx="3937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08E786A-F952-4DEC-BB09-9FFD15C524D2}" type="datetime'''''''1''''1''''''''''''''''''''''''''''''''''''''''''''''%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dirty="0">
              <a:cs typeface="+mn-cs"/>
            </a:endParaRPr>
          </a:p>
        </p:txBody>
      </p:sp>
      <p:sp>
        <p:nvSpPr>
          <p:cNvPr id="7" name="Text Placeholder 13">
            <a:extLst>
              <a:ext uri="{FF2B5EF4-FFF2-40B4-BE49-F238E27FC236}">
                <a16:creationId xmlns:a16="http://schemas.microsoft.com/office/drawing/2014/main" id="{FCF10A1B-429A-43F7-A05C-DF14F9050AE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1949450" y="3327400"/>
            <a:ext cx="13208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DDD56F1-0AB9-49B7-94D0-26F70EEC5BC7}" type="datetime'Assis''ta''''''nc''e ''''''t''ec''''''h''''''ni''q''''ue'''">
              <a:rPr lang="en-US" altLang="en-US" sz="1100" smtClean="0">
                <a:cs typeface="+mn-cs"/>
              </a:rPr>
              <a:pPr/>
              <a:t>Assistance technique</a:t>
            </a:fld>
            <a:endParaRPr lang="en-US" sz="1100" dirty="0">
              <a:cs typeface="+mn-cs"/>
            </a:endParaRPr>
          </a:p>
        </p:txBody>
      </p:sp>
      <p:sp>
        <p:nvSpPr>
          <p:cNvPr id="104" name="Text Placeholder 13">
            <a:extLst>
              <a:ext uri="{FF2B5EF4-FFF2-40B4-BE49-F238E27FC236}">
                <a16:creationId xmlns:a16="http://schemas.microsoft.com/office/drawing/2014/main" id="{68B74321-6CEF-4958-845E-A3A6F53838E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535488" y="25860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EEC814-97F3-4AEB-B241-51E25B994976}" type="datetime'''''''''5''7''''''''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57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5" name="Text Placeholder 13">
            <a:extLst>
              <a:ext uri="{FF2B5EF4-FFF2-40B4-BE49-F238E27FC236}">
                <a16:creationId xmlns:a16="http://schemas.microsoft.com/office/drawing/2014/main" id="{8620A98D-B96B-4238-BF3F-24EEA27D3F6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3608388" y="4386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DF337B2-9A6F-403B-9DDB-2E42C4C8947A}" type="datetime'''''''''''''''''''''''''''''''''4''''''5%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45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9" name="Text Placeholder 13">
            <a:extLst>
              <a:ext uri="{FF2B5EF4-FFF2-40B4-BE49-F238E27FC236}">
                <a16:creationId xmlns:a16="http://schemas.microsoft.com/office/drawing/2014/main" id="{FDB7B3F7-F87F-463A-B681-20797D9159D5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939088" y="298767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9080EC5-89C4-4CC0-B3FC-928B6C690494}" type="datetime'''''''''''3''''''''''''''''''''''%''''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41B45407-4FFB-40A0-8893-58BBA16AB304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82638" y="2608263"/>
            <a:ext cx="24876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D7D31E9-AFAB-4213-B187-9BF86AD70EA0}" type="datetime'G''esti''''o''n du pro''gra''''mm''e et a''dministr''''ation'">
              <a:rPr lang="fr-FR" altLang="en-US" sz="1100" smtClean="0">
                <a:cs typeface="+mn-cs"/>
              </a:rPr>
              <a:pPr/>
              <a:t>Gestion du programme et administration</a:t>
            </a:fld>
            <a:endParaRPr lang="en-US" sz="1100" dirty="0">
              <a:cs typeface="+mn-cs"/>
            </a:endParaRPr>
          </a:p>
        </p:txBody>
      </p:sp>
      <p:sp>
        <p:nvSpPr>
          <p:cNvPr id="130" name="Text Placeholder 13">
            <a:extLst>
              <a:ext uri="{FF2B5EF4-FFF2-40B4-BE49-F238E27FC236}">
                <a16:creationId xmlns:a16="http://schemas.microsoft.com/office/drawing/2014/main" id="{6A382B69-B1E9-44D2-84C0-B26C4D738F2F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983413" y="29464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C797E0-311E-4D0F-98A0-BE8E6764C7ED}" type="datetime'''''''1''''9''''''''''''''''''''''''''''''''''%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4" name="Text Placeholder 13">
            <a:extLst>
              <a:ext uri="{FF2B5EF4-FFF2-40B4-BE49-F238E27FC236}">
                <a16:creationId xmlns:a16="http://schemas.microsoft.com/office/drawing/2014/main" id="{FA77C346-DAF1-4CFD-B647-A418DCCD40C3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178300" y="4386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17CE42-55BB-4085-8226-DE6F214F7CF4}" type="datetime'''''''''''''4''''1''''''''''''''''''''%'''''''''''''''''">
              <a:rPr lang="en-US" altLang="en-US" sz="1400" smtClean="0">
                <a:cs typeface="+mn-cs"/>
              </a:rPr>
              <a:pPr/>
              <a:t>41%</a:t>
            </a:fld>
            <a:endParaRPr lang="en-US" sz="1400" dirty="0">
              <a:cs typeface="+mn-cs"/>
            </a:endParaRP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D3260FAB-CBF3-4B16-B367-39A33844F79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570038" y="4048125"/>
            <a:ext cx="17002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1E6E17-9D20-4D4A-9758-8B8B9B28152B}" type="datetime'E''quipemen''ts ''-'''''' ''n''''on-''''m''''''édic''''a''l'">
              <a:rPr lang="en-US" altLang="en-US" sz="1100" smtClean="0">
                <a:cs typeface="+mn-cs"/>
              </a:rPr>
              <a:pPr/>
              <a:t>Equipements - non-médical</a:t>
            </a:fld>
            <a:endParaRPr lang="en-US" sz="1100" dirty="0">
              <a:cs typeface="+mn-cs"/>
            </a:endParaRPr>
          </a:p>
        </p:txBody>
      </p:sp>
      <p:sp>
        <p:nvSpPr>
          <p:cNvPr id="111" name="Text Placeholder 13">
            <a:extLst>
              <a:ext uri="{FF2B5EF4-FFF2-40B4-BE49-F238E27FC236}">
                <a16:creationId xmlns:a16="http://schemas.microsoft.com/office/drawing/2014/main" id="{9A631B03-A25B-43C6-8CC6-F9760F2532E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294313" y="33051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608D3-42BC-4797-91BA-05DB8D553F8A}" type="datetime'''''''''''''''''5''8''''''''''''''''''''%'''''''''''''''">
              <a:rPr lang="en-US" altLang="en-US" sz="1400" smtClean="0">
                <a:cs typeface="+mn-cs"/>
              </a:rPr>
              <a:pPr/>
              <a:t>58%</a:t>
            </a:fld>
            <a:endParaRPr lang="en-US" sz="1400" dirty="0">
              <a:cs typeface="+mn-cs"/>
            </a:endParaRP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34F2C352-A32F-4C91-A031-917177940BB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230438" y="2968625"/>
            <a:ext cx="10398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FBE44C9-ED9D-4BD5-BDF5-E20E98792C46}" type="datetime'''''''F''''on''''''cti''''''''''onn''e''men''t'''' '''''''''''">
              <a:rPr lang="en-US" altLang="en-US" sz="1100" smtClean="0">
                <a:cs typeface="+mn-cs"/>
              </a:rPr>
              <a:pPr/>
              <a:t>Fonctionnement </a:t>
            </a:fld>
            <a:endParaRPr lang="en-US" sz="1100" dirty="0">
              <a:cs typeface="+mn-cs"/>
            </a:endParaRPr>
          </a:p>
        </p:txBody>
      </p:sp>
      <p:sp>
        <p:nvSpPr>
          <p:cNvPr id="132" name="Text Placeholder 13">
            <a:extLst>
              <a:ext uri="{FF2B5EF4-FFF2-40B4-BE49-F238E27FC236}">
                <a16:creationId xmlns:a16="http://schemas.microsoft.com/office/drawing/2014/main" id="{0539460D-0AE7-4CE0-A87D-BD1DBBA5246C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4210050" y="46482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7F31D7F-B8BB-47BB-A836-37192F896324}" type="datetime'''''3''''''''7''''''''''%'''''''''''''''''''''''''''''''''''''">
              <a:rPr lang="en-US" altLang="en-US" sz="1400" smtClean="0">
                <a:cs typeface="+mn-cs"/>
              </a:rPr>
              <a:pPr/>
              <a:t>37%</a:t>
            </a:fld>
            <a:endParaRPr lang="en-US" sz="1400" dirty="0">
              <a:cs typeface="+mn-cs"/>
            </a:endParaRP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9F64E682-8A9D-405C-B878-85937CD8FE1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887538" y="1887538"/>
            <a:ext cx="13827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E0CADFE-68A7-4020-9E23-B301EFD3945A}" type="datetime'R''es''''s''o''urces'''' ''''''h''''u''''ma''''''in''''e''''s'">
              <a:rPr lang="fr-FR" altLang="en-US" sz="1100" smtClean="0">
                <a:cs typeface="+mn-cs"/>
              </a:rPr>
              <a:pPr/>
              <a:t>Ressources humaines</a:t>
            </a:fld>
            <a:endParaRPr lang="en-US" sz="1100" dirty="0">
              <a:cs typeface="+mn-cs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90E6172-6F2C-4D11-A085-4CFC47524CDE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413000" y="3687763"/>
            <a:ext cx="8572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D3BBEB0-9178-4295-A26D-791AA77CFEE2}" type="datetime'I''''''n''''''fr''a''''stru''c''''''tu''''''re'''' '''''">
              <a:rPr lang="en-US" altLang="en-US" sz="1100" smtClean="0">
                <a:cs typeface="+mn-cs"/>
              </a:rPr>
              <a:pPr/>
              <a:t>Infrastructure </a:t>
            </a:fld>
            <a:endParaRPr lang="en-US" sz="1100" dirty="0">
              <a:cs typeface="+mn-cs"/>
            </a:endParaRPr>
          </a:p>
        </p:txBody>
      </p:sp>
      <p:sp>
        <p:nvSpPr>
          <p:cNvPr id="131" name="Text Placeholder 13">
            <a:extLst>
              <a:ext uri="{FF2B5EF4-FFF2-40B4-BE49-F238E27FC236}">
                <a16:creationId xmlns:a16="http://schemas.microsoft.com/office/drawing/2014/main" id="{5EBE3EF0-DC2D-4409-AEAB-7A044DEB3D6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765550" y="47466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C1F283-A466-476E-9C15-71C0FC54BA27}" type="datetime'''''''''''''''''62''''''''''''''''''''''''%''''''''''''''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%</a:t>
            </a:fld>
            <a:endParaRPr lang="en-US" sz="1400" dirty="0">
              <a:cs typeface="+mn-cs"/>
            </a:endParaRPr>
          </a:p>
        </p:txBody>
      </p:sp>
      <p:sp>
        <p:nvSpPr>
          <p:cNvPr id="148" name="Text Placeholder 13">
            <a:extLst>
              <a:ext uri="{FF2B5EF4-FFF2-40B4-BE49-F238E27FC236}">
                <a16:creationId xmlns:a16="http://schemas.microsoft.com/office/drawing/2014/main" id="{8928CDC2-6AEE-4900-AB49-16BFDA4BBEAF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5346700" y="410368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1268144-CDA9-418E-9C90-4F5B0DDD2FAF}" type="datetime'''''''''''''''''''4''''''''''''''''%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52600CF9-6A88-4D4E-97AF-599E59CE0E4E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915525" y="1865313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591C69-F8A5-4032-8F88-302454DF5737}" type="datetime'''''''''''5''''''''''''''''''''''''''''''''''%'''''">
              <a:rPr lang="en-US" altLang="en-US" sz="1400" smtClean="0">
                <a:cs typeface="+mn-cs"/>
              </a:rPr>
              <a:pPr/>
              <a:t>5%</a:t>
            </a:fld>
            <a:endParaRPr lang="en-US" sz="1400" dirty="0">
              <a:cs typeface="+mn-cs"/>
            </a:endParaRPr>
          </a:p>
        </p:txBody>
      </p:sp>
      <p:sp>
        <p:nvSpPr>
          <p:cNvPr id="107" name="Text Placeholder 13">
            <a:extLst>
              <a:ext uri="{FF2B5EF4-FFF2-40B4-BE49-F238E27FC236}">
                <a16:creationId xmlns:a16="http://schemas.microsoft.com/office/drawing/2014/main" id="{4BEE4EE7-27FD-45FF-A2A8-E8A2B4B465E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880100" y="29464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D9B407-D6BA-4752-8E18-E7ED4E6ED0B6}" type="datetime'''''''''''''''''''''''''''''2''6''''''%'''''''''''''''">
              <a:rPr lang="en-US" altLang="en-US" sz="1400" smtClean="0">
                <a:cs typeface="+mn-cs"/>
              </a:rPr>
              <a:pPr/>
              <a:t>26%</a:t>
            </a:fld>
            <a:endParaRPr lang="en-US" sz="1400" dirty="0">
              <a:cs typeface="+mn-cs"/>
            </a:endParaRPr>
          </a:p>
        </p:txBody>
      </p:sp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C0E94A68-3597-45FB-8989-8F1D7E67E683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506413" y="5129213"/>
            <a:ext cx="27638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3BA192-A27F-4507-BD8A-8C9CCF7B0BE2}" type="datetime'Recherch''e, ''suiv''i et évaluat''ion'' et superv''''''ision'">
              <a:rPr lang="fr-FR" altLang="en-US" sz="1100" smtClean="0">
                <a:cs typeface="+mn-cs"/>
              </a:rPr>
              <a:pPr/>
              <a:t>Recherche, suivi et évaluation et supervision</a:t>
            </a:fld>
            <a:endParaRPr lang="en-US" sz="1100" dirty="0">
              <a:cs typeface="+mn-cs"/>
            </a:endParaRPr>
          </a:p>
        </p:txBody>
      </p:sp>
      <p:sp>
        <p:nvSpPr>
          <p:cNvPr id="147" name="Text Placeholder 13">
            <a:extLst>
              <a:ext uri="{FF2B5EF4-FFF2-40B4-BE49-F238E27FC236}">
                <a16:creationId xmlns:a16="http://schemas.microsoft.com/office/drawing/2014/main" id="{EB21720D-AE41-48C5-99DE-B022ABF01FC9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914900" y="41036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B6B6A1-2D85-4572-95FA-E193EE2223F1}" type="datetime'''''''''''''''''2''''''''''2%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2%</a:t>
            </a:fld>
            <a:endParaRPr lang="en-US" sz="1400" dirty="0">
              <a:cs typeface="+mn-cs"/>
            </a:endParaRPr>
          </a:p>
        </p:txBody>
      </p:sp>
      <p:sp>
        <p:nvSpPr>
          <p:cNvPr id="121" name="Text Placeholder 13">
            <a:extLst>
              <a:ext uri="{FF2B5EF4-FFF2-40B4-BE49-F238E27FC236}">
                <a16:creationId xmlns:a16="http://schemas.microsoft.com/office/drawing/2014/main" id="{B2C0291C-C218-4202-B8C8-44D9D8094C17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652838" y="40259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EF6784-58E2-4894-AF43-982A0AE00F5C}" type="datetime'''''5''''''''''0''''''''''''''''%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5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3" name="Text Placeholder 13">
            <a:extLst>
              <a:ext uri="{FF2B5EF4-FFF2-40B4-BE49-F238E27FC236}">
                <a16:creationId xmlns:a16="http://schemas.microsoft.com/office/drawing/2014/main" id="{11F20B33-2D77-41E0-BD6D-14E9322C1EBD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862513" y="43862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2A238F8-A95E-4192-8D38-CBAB4BB50119}" type="datetime'''''''''''1''''''''''''''''''''''4''''''''%'''''''''">
              <a:rPr lang="en-US" altLang="en-US" sz="1400" smtClean="0">
                <a:cs typeface="+mn-cs"/>
              </a:rPr>
              <a:pPr/>
              <a:t>14%</a:t>
            </a:fld>
            <a:endParaRPr lang="en-US" sz="1400" dirty="0">
              <a:cs typeface="+mn-cs"/>
            </a:endParaRPr>
          </a:p>
        </p:txBody>
      </p:sp>
      <p:sp>
        <p:nvSpPr>
          <p:cNvPr id="100" name="Text Placeholder 13">
            <a:extLst>
              <a:ext uri="{FF2B5EF4-FFF2-40B4-BE49-F238E27FC236}">
                <a16:creationId xmlns:a16="http://schemas.microsoft.com/office/drawing/2014/main" id="{62AD750F-ED13-475F-8E0B-62660F96FF10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0364788" y="2159000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FF2BB8-201F-49A3-9132-A6A5F7BFD155}" type="datetime'''3''''''''''''''''''''''''''''''''''''47'''''''''''''">
              <a:rPr lang="en-US" altLang="en-US" sz="1400" smtClean="0">
                <a:cs typeface="+mn-cs"/>
              </a:rPr>
              <a:pPr/>
              <a:t>347</a:t>
            </a:fld>
            <a:endParaRPr lang="en-US" sz="1400" dirty="0">
              <a:cs typeface="+mn-cs"/>
            </a:endParaRPr>
          </a:p>
        </p:txBody>
      </p:sp>
      <p:sp>
        <p:nvSpPr>
          <p:cNvPr id="12" name="Text Placeholder 13">
            <a:extLst>
              <a:ext uri="{FF2B5EF4-FFF2-40B4-BE49-F238E27FC236}">
                <a16:creationId xmlns:a16="http://schemas.microsoft.com/office/drawing/2014/main" id="{078B080D-443D-4C80-AD6C-744614FA75E4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933575" y="4408488"/>
            <a:ext cx="13366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2213530-F212-4D8C-B5B6-3D7D052AF40A}" type="datetime'''Eq''''ui''''p''e''m''e''''''nt''''''s ''''m''é''''dical'''">
              <a:rPr lang="en-US" altLang="en-US" sz="1100" smtClean="0">
                <a:cs typeface="+mn-cs"/>
              </a:rPr>
              <a:pPr/>
              <a:t>Equipements médical</a:t>
            </a:fld>
            <a:endParaRPr lang="en-US" sz="1100" dirty="0">
              <a:cs typeface="+mn-cs"/>
            </a:endParaRPr>
          </a:p>
        </p:txBody>
      </p:sp>
      <p:sp>
        <p:nvSpPr>
          <p:cNvPr id="106" name="Text Placeholder 13">
            <a:extLst>
              <a:ext uri="{FF2B5EF4-FFF2-40B4-BE49-F238E27FC236}">
                <a16:creationId xmlns:a16="http://schemas.microsoft.com/office/drawing/2014/main" id="{73F067FE-D57D-4534-8145-48636623740B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7605713" y="298767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969696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737689A-4578-4303-9013-9E015945B862}" type="datetime'''''''''''''''''2''''''''''''%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cs typeface="+mn-cs"/>
            </a:endParaRPr>
          </a:p>
        </p:txBody>
      </p:sp>
      <p:sp>
        <p:nvSpPr>
          <p:cNvPr id="91" name="Text Placeholder 13">
            <a:extLst>
              <a:ext uri="{FF2B5EF4-FFF2-40B4-BE49-F238E27FC236}">
                <a16:creationId xmlns:a16="http://schemas.microsoft.com/office/drawing/2014/main" id="{78250F2F-F4D9-42C0-8CD7-D765EA9CD6ED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0634663" y="18653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973FE8-B9C4-4769-87D2-EDE0474DE64E}" type="datetime'''''''''''''''1''''''''4''''''''''''''''''''''''%'''''''''''">
              <a:rPr lang="en-US" altLang="en-US" sz="1400" smtClean="0">
                <a:cs typeface="+mn-cs"/>
              </a:rPr>
              <a:pPr/>
              <a:t>14%</a:t>
            </a:fld>
            <a:endParaRPr lang="en-US" sz="1400" dirty="0">
              <a:cs typeface="+mn-cs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8E11B1-0698-436B-B0A8-3D8BD3CD8D37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271463" y="4768850"/>
            <a:ext cx="29987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EEBF33-2EEA-497B-865C-52B8C3348754}" type="datetime'Conféren''ces, c''''ongrès, séminaires, e''''t ''''formations'">
              <a:rPr lang="fr-FR" altLang="en-US" sz="1100" smtClean="0">
                <a:cs typeface="+mn-cs"/>
              </a:rPr>
              <a:pPr/>
              <a:t>Conférences, congrès, séminaires, et formations</a:t>
            </a:fld>
            <a:endParaRPr lang="en-US" sz="1100" dirty="0">
              <a:cs typeface="+mn-cs"/>
            </a:endParaRPr>
          </a:p>
        </p:txBody>
      </p:sp>
      <p:sp>
        <p:nvSpPr>
          <p:cNvPr id="137" name="Text Placeholder 13">
            <a:extLst>
              <a:ext uri="{FF2B5EF4-FFF2-40B4-BE49-F238E27FC236}">
                <a16:creationId xmlns:a16="http://schemas.microsoft.com/office/drawing/2014/main" id="{2AB465D3-7B96-422C-98F5-519F9A2E97D1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4670425" y="536098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E28B9D-51AC-4C8D-863B-18EFD1DEB3A2}" type="datetime'2''''''''''%'''''''''''''''''''''''">
              <a:rPr lang="en-US" altLang="en-US" sz="1400" smtClean="0">
                <a:cs typeface="+mn-cs"/>
              </a:rPr>
              <a:pPr/>
              <a:t>2%</a:t>
            </a:fld>
            <a:endParaRPr lang="en-US" sz="1400" dirty="0">
              <a:cs typeface="+mn-cs"/>
            </a:endParaRPr>
          </a:p>
        </p:txBody>
      </p:sp>
      <p:sp>
        <p:nvSpPr>
          <p:cNvPr id="93" name="Text Placeholder 13">
            <a:extLst>
              <a:ext uri="{FF2B5EF4-FFF2-40B4-BE49-F238E27FC236}">
                <a16:creationId xmlns:a16="http://schemas.microsoft.com/office/drawing/2014/main" id="{63EC8CAC-3615-443F-B44A-29BD40D238C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9364663" y="1865313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23ED4A-6D27-4894-950C-E45603037652}" type="datetime'''''''''9''''''''''''''''''''''''''''''''''''''%'''''">
              <a:rPr lang="en-US" altLang="en-US" sz="1400" smtClean="0">
                <a:cs typeface="+mn-cs"/>
              </a:rPr>
              <a:pPr/>
              <a:t>9%</a:t>
            </a:fld>
            <a:endParaRPr lang="en-US" sz="1400" dirty="0">
              <a:cs typeface="+mn-cs"/>
            </a:endParaRPr>
          </a:p>
        </p:txBody>
      </p:sp>
      <p:sp>
        <p:nvSpPr>
          <p:cNvPr id="138" name="Text Placeholder 13">
            <a:extLst>
              <a:ext uri="{FF2B5EF4-FFF2-40B4-BE49-F238E27FC236}">
                <a16:creationId xmlns:a16="http://schemas.microsoft.com/office/drawing/2014/main" id="{EA4CDD38-0B30-48F3-98FC-DA8C513B40E0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4337050" y="536098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E9F4D6-01A1-41FC-84AB-928791B77166}" type="datetime'''3''''''''''''''''''''''''''''''''''''''''''%''''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141" name="Text Placeholder 13">
            <a:extLst>
              <a:ext uri="{FF2B5EF4-FFF2-40B4-BE49-F238E27FC236}">
                <a16:creationId xmlns:a16="http://schemas.microsoft.com/office/drawing/2014/main" id="{3CE29C34-962B-4108-814F-DE357C414017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3905250" y="53609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F00ED9-5D7B-43AC-96E6-6D68CBC9A888}" type="datetime'''''''''''''''''''''''''''''''''9''''''''5''''''''''''''''%'''">
              <a:rPr lang="en-US" altLang="en-US" sz="1400" smtClean="0">
                <a:cs typeface="+mn-cs"/>
              </a:rPr>
              <a:pPr/>
              <a:t>95%</a:t>
            </a:fld>
            <a:endParaRPr lang="en-US" sz="1400" dirty="0">
              <a:cs typeface="+mn-cs"/>
            </a:endParaRP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C885AED4-C6BF-44DB-89F0-09B74A0F007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368425" y="5487988"/>
            <a:ext cx="19018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8BD0E92-8FF7-4DAD-AA7D-D47E030C4147}" type="datetime'M''ain''t''''''e''nance ''des équ''''ipem''''ents'">
              <a:rPr lang="en-US" altLang="en-US" sz="1100" smtClean="0">
                <a:cs typeface="+mn-cs"/>
              </a:rPr>
              <a:pPr/>
              <a:t>Maintenance des équipements</a:t>
            </a:fld>
            <a:endParaRPr lang="en-US" sz="1100" dirty="0">
              <a:cs typeface="+mn-cs"/>
            </a:endParaRPr>
          </a:p>
        </p:txBody>
      </p:sp>
      <p:sp>
        <p:nvSpPr>
          <p:cNvPr id="94" name="Text Placeholder 13">
            <a:extLst>
              <a:ext uri="{FF2B5EF4-FFF2-40B4-BE49-F238E27FC236}">
                <a16:creationId xmlns:a16="http://schemas.microsoft.com/office/drawing/2014/main" id="{46171E1E-B67E-450D-A49E-B6F315F40F2D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6134100" y="18653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1B15D2-8C4E-4093-B7D6-3602E8F1DBA0}" type="datetime'''''''''''''''''''''72''''''''''''%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7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9" name="Text Placeholder 13">
            <a:extLst>
              <a:ext uri="{FF2B5EF4-FFF2-40B4-BE49-F238E27FC236}">
                <a16:creationId xmlns:a16="http://schemas.microsoft.com/office/drawing/2014/main" id="{A9961D1A-8E91-4953-A27B-C0DD3A66B51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9953625" y="222567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2258FA-40BD-456F-8578-79A47527BB24}" type="datetime'''''''''''''''''''''''''''''''''''''''''''7''%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7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43" name="Text Placeholder 13">
            <a:extLst>
              <a:ext uri="{FF2B5EF4-FFF2-40B4-BE49-F238E27FC236}">
                <a16:creationId xmlns:a16="http://schemas.microsoft.com/office/drawing/2014/main" id="{2E12492D-BE42-4F39-A9F0-DD80EC519E60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4262438" y="59039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DFDA2B3-9564-414F-ADCE-66B404820925}" type="datetime'8''''''''''''''''''''''9''%'''''''''''">
              <a:rPr lang="en-US" altLang="en-US" sz="1400" smtClean="0">
                <a:cs typeface="+mn-cs"/>
              </a:rPr>
              <a:pPr/>
              <a:t>89%</a:t>
            </a:fld>
            <a:endParaRPr lang="en-US" sz="1400" dirty="0">
              <a:cs typeface="+mn-cs"/>
            </a:endParaRP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25074820-4693-4C52-BEBA-BF8740A5C338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6251575" y="22256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3255D90-B06E-4EFC-B3C7-EA7C8C88B0CA}" type="datetime'''1''''''''''''''''''''''0''''''''''''''''''''''''%'">
              <a:rPr lang="en-US" altLang="en-US" sz="1400" smtClean="0">
                <a:cs typeface="+mn-cs"/>
              </a:rPr>
              <a:pPr/>
              <a:t>10%</a:t>
            </a:fld>
            <a:endParaRPr lang="en-US" sz="1400" dirty="0">
              <a:cs typeface="+mn-cs"/>
            </a:endParaRPr>
          </a:p>
        </p:txBody>
      </p:sp>
      <p:sp>
        <p:nvSpPr>
          <p:cNvPr id="96" name="Text Placeholder 13">
            <a:extLst>
              <a:ext uri="{FF2B5EF4-FFF2-40B4-BE49-F238E27FC236}">
                <a16:creationId xmlns:a16="http://schemas.microsoft.com/office/drawing/2014/main" id="{814743B6-EBE3-4BEA-A4BD-87015EB28F04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8128000" y="22256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A4C3141-379C-4E71-AE47-CA9CD89B7019}" type="datetime'''''4''''5''''''%'''''''''''''''''''''">
              <a:rPr lang="en-US" altLang="en-US" sz="1400" smtClean="0">
                <a:cs typeface="+mn-cs"/>
              </a:rPr>
              <a:pPr/>
              <a:t>45%</a:t>
            </a:fld>
            <a:endParaRPr lang="en-US" sz="1400" dirty="0">
              <a:cs typeface="+mn-cs"/>
            </a:endParaRPr>
          </a:p>
        </p:txBody>
      </p:sp>
      <p:sp>
        <p:nvSpPr>
          <p:cNvPr id="133" name="Text Placeholder 13">
            <a:extLst>
              <a:ext uri="{FF2B5EF4-FFF2-40B4-BE49-F238E27FC236}">
                <a16:creationId xmlns:a16="http://schemas.microsoft.com/office/drawing/2014/main" id="{660CCF7D-D288-454F-91C6-7597CEFB356C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4616450" y="4729163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7154EB-D89A-4282-8F12-C26B6DA777D6}" type="datetime'''''''''''''''''''3''''''''''''''''''4'''''''''''''''''''">
              <a:rPr lang="en-US" altLang="en-US" sz="1400" smtClean="0">
                <a:cs typeface="+mn-cs"/>
              </a:rPr>
              <a:pPr/>
              <a:t>34</a:t>
            </a:fld>
            <a:endParaRPr lang="en-US" sz="1400" dirty="0">
              <a:cs typeface="+mn-cs"/>
            </a:endParaRPr>
          </a:p>
        </p:txBody>
      </p:sp>
      <p:sp>
        <p:nvSpPr>
          <p:cNvPr id="75" name="Text Placeholder 13">
            <a:extLst>
              <a:ext uri="{FF2B5EF4-FFF2-40B4-BE49-F238E27FC236}">
                <a16:creationId xmlns:a16="http://schemas.microsoft.com/office/drawing/2014/main" id="{FE2E801D-FDEB-4038-97A4-E6B17E8B8BFA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725613" y="5848350"/>
            <a:ext cx="15446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0CF9BF2-0C9B-44F4-ACA1-D8237724A0FB}" type="datetime'C''o''m''m''un''icati''''''''''''o''''n et ''''''Méd''''''ia'">
              <a:rPr lang="en-US" altLang="en-US" sz="1100" smtClean="0">
                <a:cs typeface="+mn-cs"/>
              </a:rPr>
              <a:pPr/>
              <a:t>Communication et Média</a:t>
            </a:fld>
            <a:endParaRPr lang="en-US" sz="1100" dirty="0">
              <a:cs typeface="+mn-cs"/>
            </a:endParaRPr>
          </a:p>
        </p:txBody>
      </p:sp>
      <p:sp>
        <p:nvSpPr>
          <p:cNvPr id="158" name="Text Placeholder 13">
            <a:extLst>
              <a:ext uri="{FF2B5EF4-FFF2-40B4-BE49-F238E27FC236}">
                <a16:creationId xmlns:a16="http://schemas.microsoft.com/office/drawing/2014/main" id="{F5604078-CC83-42C7-AAB6-A8ED3DA1B0F9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3381375" y="6186488"/>
            <a:ext cx="50482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102C2C-34DB-4908-A1D1-CFF7FA67EADE}" type="datetime'''''''''''''''''''''''''''''''''''''''''''10''''''''''0''''%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400" dirty="0">
              <a:cs typeface="+mn-cs"/>
            </a:endParaRPr>
          </a:p>
        </p:txBody>
      </p:sp>
      <p:sp>
        <p:nvSpPr>
          <p:cNvPr id="76" name="Text Placeholder 13">
            <a:extLst>
              <a:ext uri="{FF2B5EF4-FFF2-40B4-BE49-F238E27FC236}">
                <a16:creationId xmlns:a16="http://schemas.microsoft.com/office/drawing/2014/main" id="{C8C45D2F-5F57-42BA-A132-B0C1388C3974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938" y="6208713"/>
            <a:ext cx="32623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2E239F-0027-4143-BF41-2FC0D98BEBCB}" type="datetime'Ap''provis''ionnement et gestio''n de l''a chaine logistique'">
              <a:rPr lang="fr-FR" altLang="en-US" sz="1100" smtClean="0">
                <a:cs typeface="+mn-cs"/>
              </a:rPr>
              <a:pPr/>
              <a:t>Approvisionnement et gestion de la chaine logistique</a:t>
            </a:fld>
            <a:endParaRPr lang="en-US" sz="1100" dirty="0">
              <a:cs typeface="+mn-cs"/>
            </a:endParaRPr>
          </a:p>
        </p:txBody>
      </p:sp>
      <p:sp>
        <p:nvSpPr>
          <p:cNvPr id="95" name="Text Placeholder 13">
            <a:extLst>
              <a:ext uri="{FF2B5EF4-FFF2-40B4-BE49-F238E27FC236}">
                <a16:creationId xmlns:a16="http://schemas.microsoft.com/office/drawing/2014/main" id="{95113282-C0F8-4967-813F-1F7D451BDA0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11433175" y="1798638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77E204-FE0E-4F5F-B12B-51958160700F}" type="datetime'''''''''''''''''''''''''''''''''''''''''''''''4''''''0''1'''">
              <a:rPr lang="en-US" altLang="en-US" sz="1400" smtClean="0">
                <a:cs typeface="+mn-cs"/>
              </a:rPr>
              <a:pPr/>
              <a:t>401</a:t>
            </a:fld>
            <a:endParaRPr lang="en-US" sz="1400" dirty="0">
              <a:cs typeface="+mn-cs"/>
            </a:endParaRPr>
          </a:p>
        </p:txBody>
      </p:sp>
      <p:sp>
        <p:nvSpPr>
          <p:cNvPr id="116" name="Text Placeholder 13">
            <a:extLst>
              <a:ext uri="{FF2B5EF4-FFF2-40B4-BE49-F238E27FC236}">
                <a16:creationId xmlns:a16="http://schemas.microsoft.com/office/drawing/2014/main" id="{09352863-9361-4911-A658-A69CC258555B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4602163" y="36655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800D6C-E1F6-4ADF-9F34-9AB3C54968EE}" type="datetime'''''2''''''8''''''''''''''''''''''''''''''''%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8%</a:t>
            </a:fld>
            <a:endParaRPr lang="en-US" sz="1400" dirty="0">
              <a:cs typeface="+mn-cs"/>
            </a:endParaRPr>
          </a:p>
        </p:txBody>
      </p:sp>
      <p:sp>
        <p:nvSpPr>
          <p:cNvPr id="109" name="Text Placeholder 13">
            <a:extLst>
              <a:ext uri="{FF2B5EF4-FFF2-40B4-BE49-F238E27FC236}">
                <a16:creationId xmlns:a16="http://schemas.microsoft.com/office/drawing/2014/main" id="{FF2BCEDA-1D0E-403C-AF59-616D52C40AAD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8247063" y="2879725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A9F6BA-C3FE-4595-9F29-A7D6588F2671}" type="datetime'2''''''''''''''''''''''''''''''''''''''''0''''''''''''''7'''''">
              <a:rPr lang="en-US" altLang="en-US" sz="1400" smtClean="0">
                <a:cs typeface="+mn-cs"/>
              </a:rPr>
              <a:pPr/>
              <a:t>207</a:t>
            </a:fld>
            <a:endParaRPr lang="en-US" sz="1400" dirty="0">
              <a:cs typeface="+mn-cs"/>
            </a:endParaRPr>
          </a:p>
        </p:txBody>
      </p:sp>
      <p:sp>
        <p:nvSpPr>
          <p:cNvPr id="113" name="Text Placeholder 13">
            <a:extLst>
              <a:ext uri="{FF2B5EF4-FFF2-40B4-BE49-F238E27FC236}">
                <a16:creationId xmlns:a16="http://schemas.microsoft.com/office/drawing/2014/main" id="{E317BC60-4696-4314-A9C6-385F714B3C60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6338888" y="3238500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50225F-0A93-4DAB-AB56-BD4192C119B1}" type="datetime'''14''''''2'''''''''''''''''''''''''''''''''''''''''''''''">
              <a:rPr lang="en-US" altLang="en-US" sz="1400" smtClean="0">
                <a:cs typeface="+mn-cs"/>
              </a:rPr>
              <a:pPr/>
              <a:t>142</a:t>
            </a:fld>
            <a:endParaRPr lang="en-US" sz="1400" dirty="0">
              <a:cs typeface="+mn-cs"/>
            </a:endParaRPr>
          </a:p>
        </p:txBody>
      </p:sp>
      <p:sp>
        <p:nvSpPr>
          <p:cNvPr id="118" name="Text Placeholder 13">
            <a:extLst>
              <a:ext uri="{FF2B5EF4-FFF2-40B4-BE49-F238E27FC236}">
                <a16:creationId xmlns:a16="http://schemas.microsoft.com/office/drawing/2014/main" id="{0D354F77-3904-4DFD-AEDA-C12042A07FD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5434013" y="3648075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732022-BB2A-4137-A79C-C127D4DB37D1}" type="datetime'''''''''''''''''''''''''''9''''''''6'''''''''''''''">
              <a:rPr lang="en-US" altLang="en-US" sz="1400" smtClean="0">
                <a:cs typeface="+mn-cs"/>
              </a:rPr>
              <a:pPr/>
              <a:t>96</a:t>
            </a:fld>
            <a:endParaRPr lang="en-US" sz="1400" dirty="0">
              <a:cs typeface="+mn-cs"/>
            </a:endParaRPr>
          </a:p>
        </p:txBody>
      </p:sp>
      <p:sp>
        <p:nvSpPr>
          <p:cNvPr id="122" name="Text Placeholder 13">
            <a:extLst>
              <a:ext uri="{FF2B5EF4-FFF2-40B4-BE49-F238E27FC236}">
                <a16:creationId xmlns:a16="http://schemas.microsoft.com/office/drawing/2014/main" id="{EDE81BA5-1811-475E-AB34-7F96E7B4DE2A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5654675" y="4008438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B339C2-69C3-4DD8-A8B2-66FF81246B01}" type="datetime'''''''''''''''''''''''''''''''''''''''7''''''''0'''''">
              <a:rPr lang="en-US" altLang="en-US" sz="1400" smtClean="0">
                <a:cs typeface="+mn-cs"/>
              </a:rPr>
              <a:pPr/>
              <a:t>70</a:t>
            </a:fld>
            <a:endParaRPr lang="en-US" sz="1400" dirty="0">
              <a:cs typeface="+mn-cs"/>
            </a:endParaRPr>
          </a:p>
        </p:txBody>
      </p:sp>
      <p:sp>
        <p:nvSpPr>
          <p:cNvPr id="126" name="Text Placeholder 13">
            <a:extLst>
              <a:ext uri="{FF2B5EF4-FFF2-40B4-BE49-F238E27FC236}">
                <a16:creationId xmlns:a16="http://schemas.microsoft.com/office/drawing/2014/main" id="{536A2404-0160-4CE8-9037-C31F4F8537B2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5268913" y="4368800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11F549-9B43-4FB1-9479-40F48CCB7DA0}" type="datetime'''''''6''''''''''''''''7'''''''''''''''''''">
              <a:rPr lang="en-US" altLang="en-US" sz="1400" smtClean="0">
                <a:cs typeface="+mn-cs"/>
              </a:rPr>
              <a:pPr/>
              <a:t>67</a:t>
            </a:fld>
            <a:endParaRPr lang="en-US" sz="1400" dirty="0">
              <a:cs typeface="+mn-cs"/>
            </a:endParaRPr>
          </a:p>
        </p:txBody>
      </p:sp>
      <p:sp>
        <p:nvSpPr>
          <p:cNvPr id="136" name="Text Placeholder 13">
            <a:extLst>
              <a:ext uri="{FF2B5EF4-FFF2-40B4-BE49-F238E27FC236}">
                <a16:creationId xmlns:a16="http://schemas.microsoft.com/office/drawing/2014/main" id="{181D1F9B-ACE2-4C06-8A8F-CDD5FD161AFE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4078288" y="5089525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332E63-173B-4110-A92B-EDCFDC4FF2AC}" type="datetime'''''''''''''''''''2''''''8'">
              <a:rPr lang="en-US" altLang="en-US" sz="1400" smtClean="0">
                <a:cs typeface="+mn-cs"/>
              </a:rPr>
              <a:pPr/>
              <a:t>28</a:t>
            </a:fld>
            <a:endParaRPr lang="en-US" sz="1400" dirty="0">
              <a:cs typeface="+mn-cs"/>
            </a:endParaRPr>
          </a:p>
        </p:txBody>
      </p:sp>
      <p:sp>
        <p:nvSpPr>
          <p:cNvPr id="142" name="Text Placeholder 13">
            <a:extLst>
              <a:ext uri="{FF2B5EF4-FFF2-40B4-BE49-F238E27FC236}">
                <a16:creationId xmlns:a16="http://schemas.microsoft.com/office/drawing/2014/main" id="{28266717-59A0-4C1C-B325-97C1B20585AB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4978400" y="5448300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6741AE-EE7B-427E-8386-663787CD8368}" type="datetime'1''''''''''''''''''9''''''''''''''''''''''''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</a:t>
            </a:fld>
            <a:endParaRPr lang="en-US" sz="1400" dirty="0">
              <a:cs typeface="+mn-cs"/>
            </a:endParaRPr>
          </a:p>
        </p:txBody>
      </p:sp>
      <p:sp>
        <p:nvSpPr>
          <p:cNvPr id="145" name="Text Placeholder 13">
            <a:extLst>
              <a:ext uri="{FF2B5EF4-FFF2-40B4-BE49-F238E27FC236}">
                <a16:creationId xmlns:a16="http://schemas.microsoft.com/office/drawing/2014/main" id="{F22ECEA1-076F-4A37-B2E7-60D3287561DD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4668838" y="5808663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C95D16-B221-42CB-B8D6-4B2DA1810DFF}" type="datetime'''''''''''''''''''''''1''''''''''6'''''''''''''''">
              <a:rPr lang="en-US" altLang="en-US" sz="1400" smtClean="0">
                <a:cs typeface="+mn-cs"/>
              </a:rPr>
              <a:pPr/>
              <a:t>16</a:t>
            </a:fld>
            <a:endParaRPr lang="en-US" sz="1400" dirty="0">
              <a:cs typeface="+mn-cs"/>
            </a:endParaRPr>
          </a:p>
        </p:txBody>
      </p:sp>
      <p:sp>
        <p:nvSpPr>
          <p:cNvPr id="146" name="Text Placeholder 13">
            <a:extLst>
              <a:ext uri="{FF2B5EF4-FFF2-40B4-BE49-F238E27FC236}">
                <a16:creationId xmlns:a16="http://schemas.microsoft.com/office/drawing/2014/main" id="{FC6A9897-2C73-4786-8E3F-F52AF10DAB8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905250" y="61864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1C1C620-76E2-4E5D-8CE4-7FCCB9ADD8E0}" type="datetime'''1''''''''''''''3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105" name="Text Placeholder 13">
            <a:extLst>
              <a:ext uri="{FF2B5EF4-FFF2-40B4-BE49-F238E27FC236}">
                <a16:creationId xmlns:a16="http://schemas.microsoft.com/office/drawing/2014/main" id="{A8A44255-9E85-4C39-99E6-682CED3E1475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gray">
          <a:xfrm>
            <a:off x="7843838" y="2519363"/>
            <a:ext cx="212725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1BBB42-FEF9-449E-85C9-F06D164FFA5E}" type="datetime'''''''''2''''''''''''''''''''''''''1''''9'''''''''''''''''''''">
              <a:rPr lang="en-US" altLang="en-US" sz="1400" smtClean="0">
                <a:cs typeface="+mn-cs"/>
              </a:rPr>
              <a:pPr/>
              <a:t>219</a:t>
            </a:fld>
            <a:endParaRPr lang="en-US" sz="1400" dirty="0">
              <a:cs typeface="+mn-cs"/>
            </a:endParaRPr>
          </a:p>
        </p:txBody>
      </p:sp>
      <p:sp>
        <p:nvSpPr>
          <p:cNvPr id="398" name="TextBox 397">
            <a:extLst>
              <a:ext uri="{FF2B5EF4-FFF2-40B4-BE49-F238E27FC236}">
                <a16:creationId xmlns:a16="http://schemas.microsoft.com/office/drawing/2014/main" id="{CF55F515-2E6C-4119-B16B-4CEB1427E6BE}"/>
              </a:ext>
            </a:extLst>
          </p:cNvPr>
          <p:cNvSpPr txBox="1"/>
          <p:nvPr/>
        </p:nvSpPr>
        <p:spPr>
          <a:xfrm>
            <a:off x="3242215" y="1001139"/>
            <a:ext cx="59837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par source de financement et par catégorie de couts (Milliards CFA)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9" name="TextBox 398">
            <a:extLst>
              <a:ext uri="{FF2B5EF4-FFF2-40B4-BE49-F238E27FC236}">
                <a16:creationId xmlns:a16="http://schemas.microsoft.com/office/drawing/2014/main" id="{D69E1B25-7AD4-468D-93B8-B22AAE6F506E}"/>
              </a:ext>
            </a:extLst>
          </p:cNvPr>
          <p:cNvSpPr txBox="1"/>
          <p:nvPr/>
        </p:nvSpPr>
        <p:spPr>
          <a:xfrm>
            <a:off x="6416076" y="4921296"/>
            <a:ext cx="5454651" cy="15696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20% des ressources </a:t>
            </a:r>
            <a:r>
              <a:rPr lang="fr-FR" sz="1600" dirty="0"/>
              <a:t>destinées aux </a:t>
            </a:r>
            <a:r>
              <a:rPr lang="fr-FR" sz="1600" b="1" dirty="0"/>
              <a:t>médicaments et consommables médicau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b="1" dirty="0"/>
              <a:t>58% des ressources </a:t>
            </a:r>
            <a:r>
              <a:rPr lang="fr-FR" sz="1600" dirty="0"/>
              <a:t>destinées aux </a:t>
            </a:r>
            <a:r>
              <a:rPr lang="fr-FR" sz="1600" b="1" dirty="0"/>
              <a:t>ressources humaines, gestion du programme, fonctionnement et assistance technique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E0EC4E7-E4C1-48D2-A8BA-6D6B61CB02E8}"/>
              </a:ext>
            </a:extLst>
          </p:cNvPr>
          <p:cNvSpPr/>
          <p:nvPr>
            <p:custDataLst>
              <p:tags r:id="rId84"/>
            </p:custDataLst>
          </p:nvPr>
        </p:nvSpPr>
        <p:spPr bwMode="auto">
          <a:xfrm>
            <a:off x="8177213" y="3914775"/>
            <a:ext cx="250825" cy="18732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708DE806-4FD3-4B13-97F4-18D418DF6E27}"/>
              </a:ext>
            </a:extLst>
          </p:cNvPr>
          <p:cNvSpPr/>
          <p:nvPr>
            <p:custDataLst>
              <p:tags r:id="rId85"/>
            </p:custDataLst>
          </p:nvPr>
        </p:nvSpPr>
        <p:spPr bwMode="auto">
          <a:xfrm>
            <a:off x="10453688" y="3914775"/>
            <a:ext cx="250825" cy="187325"/>
          </a:xfrm>
          <a:prstGeom prst="rect">
            <a:avLst/>
          </a:prstGeom>
          <a:solidFill>
            <a:srgbClr val="FFC90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433B3EDD-3FE3-437C-9A59-27549F1FD302}"/>
              </a:ext>
            </a:extLst>
          </p:cNvPr>
          <p:cNvSpPr/>
          <p:nvPr>
            <p:custDataLst>
              <p:tags r:id="rId86"/>
            </p:custDataLst>
          </p:nvPr>
        </p:nvSpPr>
        <p:spPr bwMode="auto">
          <a:xfrm>
            <a:off x="8177213" y="4178300"/>
            <a:ext cx="250825" cy="1873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01A1C21-1DE3-45E2-958C-21CB561943E6}"/>
              </a:ext>
            </a:extLst>
          </p:cNvPr>
          <p:cNvSpPr/>
          <p:nvPr>
            <p:custDataLst>
              <p:tags r:id="rId87"/>
            </p:custDataLst>
          </p:nvPr>
        </p:nvSpPr>
        <p:spPr bwMode="auto">
          <a:xfrm>
            <a:off x="8177213" y="4441825"/>
            <a:ext cx="250825" cy="187325"/>
          </a:xfrm>
          <a:prstGeom prst="rect">
            <a:avLst/>
          </a:prstGeom>
          <a:solidFill>
            <a:srgbClr val="96969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2DD30379-5F8F-4965-9B80-D491DA016E4C}"/>
              </a:ext>
            </a:extLst>
          </p:cNvPr>
          <p:cNvSpPr/>
          <p:nvPr>
            <p:custDataLst>
              <p:tags r:id="rId88"/>
            </p:custDataLst>
          </p:nvPr>
        </p:nvSpPr>
        <p:spPr bwMode="auto">
          <a:xfrm>
            <a:off x="10453688" y="4178300"/>
            <a:ext cx="250825" cy="18732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0" name="Text Placeholder 13">
            <a:extLst>
              <a:ext uri="{FF2B5EF4-FFF2-40B4-BE49-F238E27FC236}">
                <a16:creationId xmlns:a16="http://schemas.microsoft.com/office/drawing/2014/main" id="{3AF9196B-024A-493B-A28D-5D7BC2EE3C61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8478838" y="3910013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87D16F5-A633-4747-886D-28483D17E7F1}" type="datetime'''''''''''''''''''''''E''''t''''''''''''''a''t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114" name="Text Placeholder 13">
            <a:extLst>
              <a:ext uri="{FF2B5EF4-FFF2-40B4-BE49-F238E27FC236}">
                <a16:creationId xmlns:a16="http://schemas.microsoft.com/office/drawing/2014/main" id="{EDE0B701-7258-45D6-9534-7B689756B5B5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10755313" y="4173538"/>
            <a:ext cx="1044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CE680B-0E93-467C-8C1B-DA0A61450755}" type="datetime'S''ec''te''u''r'''' ''''p''r''''''''''i''''''''v''''é''''''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89" name="Text Placeholder 13">
            <a:extLst>
              <a:ext uri="{FF2B5EF4-FFF2-40B4-BE49-F238E27FC236}">
                <a16:creationId xmlns:a16="http://schemas.microsoft.com/office/drawing/2014/main" id="{E5E90730-A334-46EA-A1A0-4729982E74FE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8478838" y="4173538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8456F12-FD78-4518-B730-B0D403BD5BA1}" type="datetime'''''''P''T''''F''''''''''''''''''''''''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88" name="Text Placeholder 13">
            <a:extLst>
              <a:ext uri="{FF2B5EF4-FFF2-40B4-BE49-F238E27FC236}">
                <a16:creationId xmlns:a16="http://schemas.microsoft.com/office/drawing/2014/main" id="{811ED565-3FAA-4ACD-83C7-5608A6528EFE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8478838" y="4437063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BFEE8CF-18BE-4B7F-BAF5-E11CE6B8CC74}" type="datetime'''C''''''o''''l''lec''tivi''''t''''''é''s territ''o''ri''ales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87" name="Text Placeholder 13">
            <a:extLst>
              <a:ext uri="{FF2B5EF4-FFF2-40B4-BE49-F238E27FC236}">
                <a16:creationId xmlns:a16="http://schemas.microsoft.com/office/drawing/2014/main" id="{D8048274-5EA8-46DE-83C9-68F2BA30FAD7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10755313" y="3910013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94599E7-605E-4B3D-9F77-B87E6D994970}" type="datetime'''''''''''''''''M''''''''é''n''''''''a''''''g''''e''''''s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84" name="Title 2">
            <a:extLst>
              <a:ext uri="{FF2B5EF4-FFF2-40B4-BE49-F238E27FC236}">
                <a16:creationId xmlns:a16="http://schemas.microsoft.com/office/drawing/2014/main" id="{41DA3868-B01D-478F-BDFB-72DFC5DDD5A3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u PNDSS par catégorie de couts et par source de financement (2019-2023)</a:t>
            </a:r>
          </a:p>
        </p:txBody>
      </p:sp>
    </p:spTree>
    <p:extLst>
      <p:ext uri="{BB962C8B-B14F-4D97-AF65-F5344CB8AC3E}">
        <p14:creationId xmlns:p14="http://schemas.microsoft.com/office/powerpoint/2010/main" val="266350758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ct 73" hidden="1">
            <a:extLst>
              <a:ext uri="{FF2B5EF4-FFF2-40B4-BE49-F238E27FC236}">
                <a16:creationId xmlns:a16="http://schemas.microsoft.com/office/drawing/2014/main" id="{375AE37B-3273-410F-A741-34542BFECC5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8456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61" imgW="416" imgH="416" progId="TCLayout.ActiveDocument.1">
                  <p:embed/>
                </p:oleObj>
              </mc:Choice>
              <mc:Fallback>
                <p:oleObj name="think-cell Slide" r:id="rId61" imgW="416" imgH="416" progId="TCLayout.ActiveDocument.1">
                  <p:embed/>
                  <p:pic>
                    <p:nvPicPr>
                      <p:cNvPr id="74" name="Object 73" hidden="1">
                        <a:extLst>
                          <a:ext uri="{FF2B5EF4-FFF2-40B4-BE49-F238E27FC236}">
                            <a16:creationId xmlns:a16="http://schemas.microsoft.com/office/drawing/2014/main" id="{375AE37B-3273-410F-A741-34542BFECC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8" name="Chart 77">
            <a:extLst>
              <a:ext uri="{FF2B5EF4-FFF2-40B4-BE49-F238E27FC236}">
                <a16:creationId xmlns:a16="http://schemas.microsoft.com/office/drawing/2014/main" id="{2BD9D300-2EA6-49B9-8697-CD7DD3118990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89175622"/>
              </p:ext>
            </p:extLst>
          </p:nvPr>
        </p:nvGraphicFramePr>
        <p:xfrm>
          <a:off x="9394825" y="1738313"/>
          <a:ext cx="2478088" cy="3675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sp>
        <p:nvSpPr>
          <p:cNvPr id="51" name="Text Placeholder 13">
            <a:extLst>
              <a:ext uri="{FF2B5EF4-FFF2-40B4-BE49-F238E27FC236}">
                <a16:creationId xmlns:a16="http://schemas.microsoft.com/office/drawing/2014/main" id="{50370663-D7F1-46CD-9EFC-15D9F1C944F7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064500" y="2955925"/>
            <a:ext cx="1323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7BA07C-F6ED-4D75-8D14-83F613899540}" type="datetime'''Re''''ssou''''''rce''s ''''''hum''''''a''''''ines'''''">
              <a:rPr lang="en-US" altLang="en-US" sz="1050" smtClean="0">
                <a:cs typeface="+mn-cs"/>
              </a:rPr>
              <a:pPr/>
              <a:t>Ressources humaines</a:t>
            </a:fld>
            <a:endParaRPr lang="en-US" sz="1050" dirty="0">
              <a:cs typeface="+mn-cs"/>
            </a:endParaRPr>
          </a:p>
        </p:txBody>
      </p:sp>
      <p:sp>
        <p:nvSpPr>
          <p:cNvPr id="63" name="Text Placeholder 13">
            <a:extLst>
              <a:ext uri="{FF2B5EF4-FFF2-40B4-BE49-F238E27FC236}">
                <a16:creationId xmlns:a16="http://schemas.microsoft.com/office/drawing/2014/main" id="{B3EA16C0-51F5-4197-86D0-314BD6283BE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742113" y="3495675"/>
            <a:ext cx="26463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0109783-D57B-4D3A-9798-2A59A44F3A33}" type="datetime'Rec''her''c''he'', suivi ''et évaluation et'' sup''ervi''sion'">
              <a:rPr lang="fr-FR" altLang="en-US" sz="1050" smtClean="0">
                <a:cs typeface="+mn-cs"/>
              </a:rPr>
              <a:pPr/>
              <a:t>Recherche, suivi et évaluation et supervision</a:t>
            </a:fld>
            <a:endParaRPr lang="en-US" sz="1050" dirty="0">
              <a:cs typeface="+mn-cs"/>
            </a:endParaRPr>
          </a:p>
        </p:txBody>
      </p:sp>
      <p:sp>
        <p:nvSpPr>
          <p:cNvPr id="44" name="Text Placeholder 13">
            <a:extLst>
              <a:ext uri="{FF2B5EF4-FFF2-40B4-BE49-F238E27FC236}">
                <a16:creationId xmlns:a16="http://schemas.microsoft.com/office/drawing/2014/main" id="{83616ED0-E1C4-4A10-8AF4-AF746D396D8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899275" y="2146300"/>
            <a:ext cx="24892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E4567DB-DD2E-4887-A43E-77FD878BF51D}" type="datetime'M''é''''d''''icaments et'' conso''mmab''le''s ''médic''''aux'">
              <a:rPr lang="en-US" altLang="en-US" sz="1050" smtClean="0">
                <a:cs typeface="+mn-cs"/>
              </a:rPr>
              <a:pPr/>
              <a:t>Médicaments et consommables médicaux</a:t>
            </a:fld>
            <a:endParaRPr lang="en-US" sz="1050" dirty="0">
              <a:cs typeface="+mn-cs"/>
            </a:endParaRP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7D985ED8-2DD2-47D4-BF9D-CD288C0ABCD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1549063" y="2371725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317D08-E844-4368-B6B5-BA423FECED15}" type="datetime'''''''''''8''''''''''''''''''''''''''''''''''''''3'">
              <a:rPr lang="en-US" altLang="en-US" sz="1400" smtClean="0">
                <a:cs typeface="+mn-cs"/>
              </a:rPr>
              <a:pPr/>
              <a:t>83</a:t>
            </a:fld>
            <a:endParaRPr lang="en-US" sz="1400" dirty="0">
              <a:cs typeface="+mn-cs"/>
            </a:endParaRPr>
          </a:p>
        </p:txBody>
      </p:sp>
      <p:sp>
        <p:nvSpPr>
          <p:cNvPr id="112" name="Text Placeholder 13">
            <a:extLst>
              <a:ext uri="{FF2B5EF4-FFF2-40B4-BE49-F238E27FC236}">
                <a16:creationId xmlns:a16="http://schemas.microsoft.com/office/drawing/2014/main" id="{1ED68E0A-EF4D-4CB3-BA30-6103297AA69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566150" y="3767138"/>
            <a:ext cx="8223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4E10F6-E231-4F7B-8774-E9670E921115}" type="datetime'I''n''f''ra''s''''''t''''''''''''r''u''ct''ur''e'' '''''">
              <a:rPr lang="en-US" altLang="en-US" sz="1050" smtClean="0">
                <a:cs typeface="+mn-cs"/>
              </a:rPr>
              <a:pPr/>
              <a:t>Infrastructure </a:t>
            </a:fld>
            <a:endParaRPr lang="en-US" sz="1050" dirty="0">
              <a:cs typeface="+mn-cs"/>
            </a:endParaRPr>
          </a:p>
        </p:txBody>
      </p:sp>
      <p:sp>
        <p:nvSpPr>
          <p:cNvPr id="50" name="Text Placeholder 13">
            <a:extLst>
              <a:ext uri="{FF2B5EF4-FFF2-40B4-BE49-F238E27FC236}">
                <a16:creationId xmlns:a16="http://schemas.microsoft.com/office/drawing/2014/main" id="{437CCD1A-DE13-4D90-8251-24BEDBCB004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0183813" y="3181350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92EBEC-AC80-4E7F-B99F-EDB17D5A0E4A}" type="datetime'''''''''''''''''''''''''''''''''2''''''''''''''''8'''">
              <a:rPr lang="en-US" altLang="en-US" sz="1400" smtClean="0">
                <a:cs typeface="+mn-cs"/>
              </a:rPr>
              <a:pPr/>
              <a:t>28</a:t>
            </a:fld>
            <a:endParaRPr lang="en-US" sz="1400" dirty="0">
              <a:cs typeface="+mn-cs"/>
            </a:endParaRPr>
          </a:p>
        </p:txBody>
      </p:sp>
      <p:sp>
        <p:nvSpPr>
          <p:cNvPr id="118" name="Text Placeholder 13">
            <a:extLst>
              <a:ext uri="{FF2B5EF4-FFF2-40B4-BE49-F238E27FC236}">
                <a16:creationId xmlns:a16="http://schemas.microsoft.com/office/drawing/2014/main" id="{F0E04CC4-2907-4160-A0B6-ADF47BDD12D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04050" y="1876425"/>
            <a:ext cx="23844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125002-7E73-47A1-AD88-087706BBBD42}" type="datetime'''Gestion'' ''du'' pr''''ogramme et ''adm''in''ist''r''ation'">
              <a:rPr lang="fr-FR" altLang="en-US" sz="1050" smtClean="0">
                <a:cs typeface="+mn-cs"/>
              </a:rPr>
              <a:pPr/>
              <a:t>Gestion du programme et administration</a:t>
            </a:fld>
            <a:endParaRPr lang="en-US" sz="1050" dirty="0">
              <a:cs typeface="+mn-cs"/>
            </a:endParaRPr>
          </a:p>
        </p:txBody>
      </p:sp>
      <p:sp>
        <p:nvSpPr>
          <p:cNvPr id="119" name="Text Placeholder 13">
            <a:extLst>
              <a:ext uri="{FF2B5EF4-FFF2-40B4-BE49-F238E27FC236}">
                <a16:creationId xmlns:a16="http://schemas.microsoft.com/office/drawing/2014/main" id="{7CE7F457-D47F-4924-A250-3E5F9BB13D74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815763" y="1831975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A2CF1F-EDFD-4DC0-A660-3E3DBD70F3EC}" type="datetime'''''''''''''''''''''''9''4'''''''''''''''''''''">
              <a:rPr lang="en-US" altLang="en-US" sz="1400" smtClean="0">
                <a:cs typeface="+mn-cs"/>
              </a:rPr>
              <a:pPr/>
              <a:t>94</a:t>
            </a:fld>
            <a:endParaRPr lang="en-US" sz="1400" dirty="0">
              <a:cs typeface="+mn-cs"/>
            </a:endParaRPr>
          </a:p>
        </p:txBody>
      </p:sp>
      <p:sp>
        <p:nvSpPr>
          <p:cNvPr id="47" name="Text Placeholder 13">
            <a:extLst>
              <a:ext uri="{FF2B5EF4-FFF2-40B4-BE49-F238E27FC236}">
                <a16:creationId xmlns:a16="http://schemas.microsoft.com/office/drawing/2014/main" id="{CCC4DED1-A1D9-4D51-AEDA-3AEB51A9B77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24825" y="2416175"/>
            <a:ext cx="12636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1392E7E-4C9C-4E44-89DD-D3D9CBF9DB53}" type="datetime'As''''''''si''s''t''''an''c''''e te''''''''ch''''''nique'''''">
              <a:rPr lang="en-US" altLang="en-US" sz="1050" smtClean="0">
                <a:cs typeface="+mn-cs"/>
              </a:rPr>
              <a:pPr/>
              <a:t>Assistance technique</a:t>
            </a:fld>
            <a:endParaRPr lang="en-US" sz="1050" dirty="0">
              <a:cs typeface="+mn-cs"/>
            </a:endParaRP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20ACFCA8-FF60-4E9D-9AB3-F6A83D0B7F9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393113" y="2686050"/>
            <a:ext cx="9953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1597256-F405-4F80-BFAB-217CEF4D6A92}" type="datetime'F''''''''o''n''''c''''''''tio''nne''''m''''ent'''''''' '">
              <a:rPr lang="en-US" altLang="en-US" sz="1050" smtClean="0">
                <a:cs typeface="+mn-cs"/>
              </a:rPr>
              <a:pPr/>
              <a:t>Fonctionnement </a:t>
            </a:fld>
            <a:endParaRPr lang="en-US" sz="1050" dirty="0">
              <a:cs typeface="+mn-cs"/>
            </a:endParaRPr>
          </a:p>
        </p:txBody>
      </p:sp>
      <p:sp>
        <p:nvSpPr>
          <p:cNvPr id="54" name="Text Placeholder 13">
            <a:extLst>
              <a:ext uri="{FF2B5EF4-FFF2-40B4-BE49-F238E27FC236}">
                <a16:creationId xmlns:a16="http://schemas.microsoft.com/office/drawing/2014/main" id="{D30C797E-1713-45CB-A582-CB3A36034D8E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108950" y="3225800"/>
            <a:ext cx="1279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FDE021-E21F-450B-8580-1B88C461E7E5}" type="datetime'''''Equ''''''''''i''pe''''me''n''ts'' mé''d''''i''''''ca''''l'">
              <a:rPr lang="en-US" altLang="en-US" sz="1050" smtClean="0">
                <a:cs typeface="+mn-cs"/>
              </a:rPr>
              <a:pPr/>
              <a:t>Equipements médical</a:t>
            </a:fld>
            <a:endParaRPr lang="en-US" sz="1050" dirty="0">
              <a:cs typeface="+mn-cs"/>
            </a:endParaRPr>
          </a:p>
        </p:txBody>
      </p:sp>
      <p:sp>
        <p:nvSpPr>
          <p:cNvPr id="75" name="Text Placeholder 13">
            <a:extLst>
              <a:ext uri="{FF2B5EF4-FFF2-40B4-BE49-F238E27FC236}">
                <a16:creationId xmlns:a16="http://schemas.microsoft.com/office/drawing/2014/main" id="{DE37636E-AE60-4010-B7C6-C09C8BC7798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515475" y="5121275"/>
            <a:ext cx="212725" cy="149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1D7F1B2-4A5E-49D0-B0A9-D9A4F16045F6}" type="datetime'''''''''''''''''''''''''''''''1'''">
              <a:rPr lang="en-US" altLang="en-US" sz="1400" smtClean="0">
                <a:cs typeface="+mn-cs"/>
              </a:rPr>
              <a:pPr/>
              <a:t>1</a:t>
            </a:fld>
            <a:endParaRPr lang="en-US" sz="1400" dirty="0">
              <a:cs typeface="+mn-cs"/>
            </a:endParaRPr>
          </a:p>
        </p:txBody>
      </p:sp>
      <p:sp>
        <p:nvSpPr>
          <p:cNvPr id="113" name="Text Placeholder 13">
            <a:extLst>
              <a:ext uri="{FF2B5EF4-FFF2-40B4-BE49-F238E27FC236}">
                <a16:creationId xmlns:a16="http://schemas.microsoft.com/office/drawing/2014/main" id="{B59AAEB3-D68D-4711-9A3C-4972E2D98E1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515100" y="4037013"/>
            <a:ext cx="28733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587C880-407F-4E1B-8D49-4F6060D194F3}" type="datetime'Conf''érenc''es, co''ng''rès, sé''''minaires,'' et formations'">
              <a:rPr lang="fr-FR" altLang="en-US" sz="1050" smtClean="0">
                <a:cs typeface="+mn-cs"/>
              </a:rPr>
              <a:pPr/>
              <a:t>Conférences, congrès, séminaires, et formations</a:t>
            </a:fld>
            <a:endParaRPr lang="en-US" sz="1050" dirty="0">
              <a:cs typeface="+mn-cs"/>
            </a:endParaRPr>
          </a:p>
        </p:txBody>
      </p:sp>
      <p:sp>
        <p:nvSpPr>
          <p:cNvPr id="114" name="Text Placeholder 13">
            <a:extLst>
              <a:ext uri="{FF2B5EF4-FFF2-40B4-BE49-F238E27FC236}">
                <a16:creationId xmlns:a16="http://schemas.microsoft.com/office/drawing/2014/main" id="{39A586D0-19FB-4595-BC36-0E3033BD89B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759700" y="4306888"/>
            <a:ext cx="16287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52120B-6EC1-40C6-9952-EF24A3D12F54}" type="datetime'''E''q''u''i''''''p''e''me''nts'' ''''- non-méd''''''ical'''">
              <a:rPr lang="en-US" altLang="en-US" sz="1050" smtClean="0">
                <a:cs typeface="+mn-cs"/>
              </a:rPr>
              <a:pPr/>
              <a:t>Equipements - non-médical</a:t>
            </a:fld>
            <a:endParaRPr lang="en-US" sz="1050" dirty="0">
              <a:cs typeface="+mn-cs"/>
            </a:endParaRPr>
          </a:p>
        </p:txBody>
      </p:sp>
      <p:sp>
        <p:nvSpPr>
          <p:cNvPr id="116" name="Text Placeholder 13">
            <a:extLst>
              <a:ext uri="{FF2B5EF4-FFF2-40B4-BE49-F238E27FC236}">
                <a16:creationId xmlns:a16="http://schemas.microsoft.com/office/drawing/2014/main" id="{8A91CCEE-262A-4251-BBDB-DCFB8C2A83ED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264275" y="4846638"/>
            <a:ext cx="312420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7A328E9-E6E1-4EDD-8553-DF9F0319B520}" type="datetime'''Approvisionnement et ''gestion de la c''hain''e logistique'">
              <a:rPr lang="fr-FR" altLang="en-US" sz="1050" smtClean="0">
                <a:cs typeface="+mn-cs"/>
              </a:rPr>
              <a:pPr/>
              <a:t>Approvisionnement et gestion de la chaine logistique</a:t>
            </a:fld>
            <a:endParaRPr lang="en-US" sz="1050" dirty="0">
              <a:cs typeface="+mn-cs"/>
            </a:endParaRPr>
          </a:p>
        </p:txBody>
      </p:sp>
      <p:sp>
        <p:nvSpPr>
          <p:cNvPr id="115" name="Text Placeholder 13">
            <a:extLst>
              <a:ext uri="{FF2B5EF4-FFF2-40B4-BE49-F238E27FC236}">
                <a16:creationId xmlns:a16="http://schemas.microsoft.com/office/drawing/2014/main" id="{5BB14E45-97B2-418F-A405-1B9C20172A3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908925" y="4576763"/>
            <a:ext cx="14795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C27C466-3AFD-4762-8A69-4064B43445A2}" type="datetime'Co''mmu''n''i''''''c''''''''ati''o''n'' ''''et ''M''''édia'''">
              <a:rPr lang="en-US" altLang="en-US" sz="1050" smtClean="0">
                <a:cs typeface="+mn-cs"/>
              </a:rPr>
              <a:pPr/>
              <a:t>Communication et Média</a:t>
            </a:fld>
            <a:endParaRPr lang="en-US" sz="1050" dirty="0">
              <a:cs typeface="+mn-cs"/>
            </a:endParaRPr>
          </a:p>
        </p:txBody>
      </p:sp>
      <p:sp>
        <p:nvSpPr>
          <p:cNvPr id="71" name="Text Placeholder 13">
            <a:extLst>
              <a:ext uri="{FF2B5EF4-FFF2-40B4-BE49-F238E27FC236}">
                <a16:creationId xmlns:a16="http://schemas.microsoft.com/office/drawing/2014/main" id="{1C3B6149-0BF3-4959-9979-DA0471A2697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566025" y="5116513"/>
            <a:ext cx="18224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B968229-1677-4C15-BD36-1B80AE6632FE}" type="datetime'M''''ain''''tena''nce ''des'''' ''équi''pem''''''''e''nt''s'">
              <a:rPr lang="en-US" altLang="en-US" sz="1050" smtClean="0">
                <a:cs typeface="+mn-cs"/>
              </a:rPr>
              <a:pPr/>
              <a:t>Maintenance des équipements</a:t>
            </a:fld>
            <a:endParaRPr lang="en-US" sz="1050" dirty="0">
              <a:cs typeface="+mn-cs"/>
            </a:endParaRP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D7B20989-4D19-43DB-82EE-481D09B209E5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0182225" y="3451225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69A7A7-5660-492E-8AE2-BE50D095F0CD}" type="datetime'''''''28'''''''''''''''''''''''''''''''''''''''''''''''">
              <a:rPr lang="en-US" altLang="en-US" sz="1400" smtClean="0">
                <a:cs typeface="+mn-cs"/>
              </a:rPr>
              <a:pPr/>
              <a:t>28</a:t>
            </a:fld>
            <a:endParaRPr lang="en-US" sz="1400" dirty="0">
              <a:cs typeface="+mn-cs"/>
            </a:endParaRPr>
          </a:p>
        </p:txBody>
      </p:sp>
      <p:sp>
        <p:nvSpPr>
          <p:cNvPr id="45" name="Text Placeholder 13">
            <a:extLst>
              <a:ext uri="{FF2B5EF4-FFF2-40B4-BE49-F238E27FC236}">
                <a16:creationId xmlns:a16="http://schemas.microsoft.com/office/drawing/2014/main" id="{8A49EF28-70E0-44AC-94F9-B3FCF7CD5BCE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1574463" y="2101850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B12B8F-D5AF-49A6-865D-103126613CE8}" type="datetime'''''''''''8''''''''''4'''''''''''''''">
              <a:rPr lang="en-US" altLang="en-US" sz="1400" smtClean="0">
                <a:cs typeface="+mn-cs"/>
              </a:rPr>
              <a:pPr/>
              <a:t>84</a:t>
            </a:fld>
            <a:endParaRPr lang="en-US" sz="1400" dirty="0">
              <a:cs typeface="+mn-cs"/>
            </a:endParaRPr>
          </a:p>
        </p:txBody>
      </p:sp>
      <p:sp>
        <p:nvSpPr>
          <p:cNvPr id="127" name="Text Placeholder 13">
            <a:extLst>
              <a:ext uri="{FF2B5EF4-FFF2-40B4-BE49-F238E27FC236}">
                <a16:creationId xmlns:a16="http://schemas.microsoft.com/office/drawing/2014/main" id="{647338EB-E2F0-4427-B7C8-B66F1E60610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9920288" y="4262438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2746CD-445E-489A-8483-20B6D56F51F5}" type="datetime'''''''''''''''''''''''1''''''''7'''''''''''''''''''">
              <a:rPr lang="en-US" altLang="en-US" sz="1400" smtClean="0">
                <a:cs typeface="+mn-cs"/>
              </a:rPr>
              <a:pPr/>
              <a:t>17</a:t>
            </a:fld>
            <a:endParaRPr lang="en-US" sz="1400" dirty="0">
              <a:cs typeface="+mn-cs"/>
            </a:endParaRPr>
          </a:p>
        </p:txBody>
      </p:sp>
      <p:sp>
        <p:nvSpPr>
          <p:cNvPr id="61" name="Text Placeholder 13">
            <a:extLst>
              <a:ext uri="{FF2B5EF4-FFF2-40B4-BE49-F238E27FC236}">
                <a16:creationId xmlns:a16="http://schemas.microsoft.com/office/drawing/2014/main" id="{ACC46D20-AC58-4BBA-B2A2-1743AA2E454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10826750" y="2641600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37FC8B-3518-40D4-92B5-6EE579819493}" type="datetime'''''''''''''''''54'">
              <a:rPr lang="en-US" altLang="en-US" sz="1400" smtClean="0">
                <a:cs typeface="+mn-cs"/>
              </a:rPr>
              <a:pPr/>
              <a:t>54</a:t>
            </a:fld>
            <a:endParaRPr lang="en-US" sz="1400" dirty="0">
              <a:cs typeface="+mn-cs"/>
            </a:endParaRPr>
          </a:p>
        </p:txBody>
      </p:sp>
      <p:sp>
        <p:nvSpPr>
          <p:cNvPr id="58" name="Text Placeholder 13">
            <a:extLst>
              <a:ext uri="{FF2B5EF4-FFF2-40B4-BE49-F238E27FC236}">
                <a16:creationId xmlns:a16="http://schemas.microsoft.com/office/drawing/2014/main" id="{0DEF97F0-D904-4ECE-B99C-FA3B20212F0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0391775" y="2911475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5F2A6D5-CF6E-4415-AA39-4A358E4F8783}" type="datetime'''''''3''''''''''6'''''''''">
              <a:rPr lang="en-US" altLang="en-US" sz="1400" smtClean="0">
                <a:cs typeface="+mn-cs"/>
              </a:rPr>
              <a:pPr/>
              <a:t>36</a:t>
            </a:fld>
            <a:endParaRPr lang="en-US" sz="1400" dirty="0">
              <a:cs typeface="+mn-cs"/>
            </a:endParaRPr>
          </a:p>
        </p:txBody>
      </p:sp>
      <p:sp>
        <p:nvSpPr>
          <p:cNvPr id="125" name="Text Placeholder 13">
            <a:extLst>
              <a:ext uri="{FF2B5EF4-FFF2-40B4-BE49-F238E27FC236}">
                <a16:creationId xmlns:a16="http://schemas.microsoft.com/office/drawing/2014/main" id="{01B47AC2-2921-44E0-B7CF-14E428D5EFB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172700" y="3722688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1EBD588-7650-4E5C-838E-F8F3255C70F0}" type="datetime'''''''''''''2''''''''''''''''''''7'''''''''''''''''''''''''''">
              <a:rPr lang="en-US" altLang="en-US" sz="1400" smtClean="0">
                <a:cs typeface="+mn-cs"/>
              </a:rPr>
              <a:pPr/>
              <a:t>27</a:t>
            </a:fld>
            <a:endParaRPr lang="en-US" sz="1400" dirty="0">
              <a:cs typeface="+mn-cs"/>
            </a:endParaRPr>
          </a:p>
        </p:txBody>
      </p:sp>
      <p:sp>
        <p:nvSpPr>
          <p:cNvPr id="126" name="Text Placeholder 13">
            <a:extLst>
              <a:ext uri="{FF2B5EF4-FFF2-40B4-BE49-F238E27FC236}">
                <a16:creationId xmlns:a16="http://schemas.microsoft.com/office/drawing/2014/main" id="{3E606CD9-C07D-4FF3-80CF-89C95772561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031413" y="3992563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729BF2-85E8-47F0-AAB4-3B7D91B9A00C}" type="datetime'''''''''''''''''''''''''''''''''''''2''''''''''1'">
              <a:rPr lang="en-US" altLang="en-US" sz="1400" smtClean="0">
                <a:cs typeface="+mn-cs"/>
              </a:rPr>
              <a:pPr/>
              <a:t>21</a:t>
            </a:fld>
            <a:endParaRPr lang="en-US" sz="1400" dirty="0">
              <a:cs typeface="+mn-cs"/>
            </a:endParaRPr>
          </a:p>
        </p:txBody>
      </p:sp>
      <p:sp>
        <p:nvSpPr>
          <p:cNvPr id="128" name="Text Placeholder 13">
            <a:extLst>
              <a:ext uri="{FF2B5EF4-FFF2-40B4-BE49-F238E27FC236}">
                <a16:creationId xmlns:a16="http://schemas.microsoft.com/office/drawing/2014/main" id="{A0FA25A3-AE11-45D9-8524-A175D80E714E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9847263" y="4532313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1331AB-A712-40F4-99D1-DE1EA01BFDEE}" type="datetime'''''''''''''''''''''''''''''''''''''''''''''''''1''4'''">
              <a:rPr lang="en-US" altLang="en-US" sz="1400" smtClean="0">
                <a:cs typeface="+mn-cs"/>
              </a:rPr>
              <a:pPr/>
              <a:t>14</a:t>
            </a:fld>
            <a:endParaRPr lang="en-US" sz="1400" dirty="0">
              <a:cs typeface="+mn-cs"/>
            </a:endParaRPr>
          </a:p>
        </p:txBody>
      </p:sp>
      <p:sp>
        <p:nvSpPr>
          <p:cNvPr id="129" name="Text Placeholder 13">
            <a:extLst>
              <a:ext uri="{FF2B5EF4-FFF2-40B4-BE49-F238E27FC236}">
                <a16:creationId xmlns:a16="http://schemas.microsoft.com/office/drawing/2014/main" id="{49D85759-6A21-4C44-9E7A-B4C6AA83945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812338" y="4802188"/>
            <a:ext cx="212725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28DCAE-DE0C-4135-9924-C1239B03123E}" type="datetime'''''''''''''''''''''''''1''''''''''''''''''3''''''''''''''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46A9211F-083A-4026-A833-E6EED955A3DB}"/>
              </a:ext>
            </a:extLst>
          </p:cNvPr>
          <p:cNvSpPr/>
          <p:nvPr>
            <p:custDataLst>
              <p:tags r:id="rId30"/>
            </p:custDataLst>
          </p:nvPr>
        </p:nvSpPr>
        <p:spPr bwMode="auto">
          <a:xfrm>
            <a:off x="10837863" y="5051425"/>
            <a:ext cx="250825" cy="1873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Text Placeholder 13">
            <a:extLst>
              <a:ext uri="{FF2B5EF4-FFF2-40B4-BE49-F238E27FC236}">
                <a16:creationId xmlns:a16="http://schemas.microsoft.com/office/drawing/2014/main" id="{41C6CF73-8772-40F0-9D6D-4B705959815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1139488" y="5046663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9D4BF9-607F-4F32-A82E-05EA71E49818}" type="datetime'P''''''''''T''''''F''''''''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88" name="Chart 87">
            <a:extLst>
              <a:ext uri="{FF2B5EF4-FFF2-40B4-BE49-F238E27FC236}">
                <a16:creationId xmlns:a16="http://schemas.microsoft.com/office/drawing/2014/main" id="{1AF34C77-D5D1-4C6C-B4A0-8AAF7DEED54A}"/>
              </a:ext>
            </a:extLst>
          </p:cNvPr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104217105"/>
              </p:ext>
            </p:extLst>
          </p:nvPr>
        </p:nvGraphicFramePr>
        <p:xfrm>
          <a:off x="2860675" y="1738313"/>
          <a:ext cx="3057525" cy="3675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4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BD5AE6-A93B-49B6-98D5-42DC5134A35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H="1">
            <a:off x="3986213" y="3097213"/>
            <a:ext cx="1852612" cy="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7BE2FD4-193F-4817-9CD2-875AE95296AC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5835650" y="2141538"/>
            <a:ext cx="0" cy="9985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7EDB3C7-F783-4C36-AEEF-D0F2EE36333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3989388" y="2779713"/>
            <a:ext cx="0" cy="3603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3" name="Text Placeholder 13">
            <a:extLst>
              <a:ext uri="{FF2B5EF4-FFF2-40B4-BE49-F238E27FC236}">
                <a16:creationId xmlns:a16="http://schemas.microsoft.com/office/drawing/2014/main" id="{0BC86128-DCE5-4864-9BC6-EE8C74D62E4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34963" y="3495675"/>
            <a:ext cx="25193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2C2D72-FD84-46A1-A9C1-FC5C3115DC2F}" type="datetime'''''''''Médicaments'''' et ''co''nsom''mables médi''c''a''les'">
              <a:rPr lang="fr-FR" altLang="en-US" sz="1050" smtClean="0">
                <a:cs typeface="+mn-cs"/>
              </a:rPr>
              <a:pPr/>
              <a:t>Médicaments et consommables médicales</a:t>
            </a:fld>
            <a:endParaRPr lang="en-US" sz="1050" dirty="0">
              <a:cs typeface="+mn-cs"/>
            </a:endParaRPr>
          </a:p>
        </p:txBody>
      </p:sp>
      <p:sp>
        <p:nvSpPr>
          <p:cNvPr id="191" name="Text Placeholder 13">
            <a:extLst>
              <a:ext uri="{FF2B5EF4-FFF2-40B4-BE49-F238E27FC236}">
                <a16:creationId xmlns:a16="http://schemas.microsoft.com/office/drawing/2014/main" id="{D29E3C20-5AE3-4741-89DE-F85103AAC87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590675" y="2857500"/>
            <a:ext cx="12636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7BA934E-E853-4916-9206-1D096AED4C7B}" type="datetime'A''''''s''sis''ta''n''c''''''e ''''t''ech''n''''i''''que'''">
              <a:rPr lang="fr-FR" altLang="en-US" sz="1050" smtClean="0">
                <a:cs typeface="+mn-cs"/>
              </a:rPr>
              <a:pPr/>
              <a:t>Assistance technique</a:t>
            </a:fld>
            <a:endParaRPr lang="en-US" sz="1050" dirty="0">
              <a:cs typeface="+mn-cs"/>
            </a:endParaRPr>
          </a:p>
        </p:txBody>
      </p:sp>
      <p:sp>
        <p:nvSpPr>
          <p:cNvPr id="192" name="Text Placeholder 13">
            <a:extLst>
              <a:ext uri="{FF2B5EF4-FFF2-40B4-BE49-F238E27FC236}">
                <a16:creationId xmlns:a16="http://schemas.microsoft.com/office/drawing/2014/main" id="{0755F6C5-BF4B-4064-968C-985B8F40F9B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032000" y="3176588"/>
            <a:ext cx="8223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D41ACCA-3719-4D96-A2B5-CBC8FDDAF2B4}" type="datetime'In''''''f''r''''a''''st''r''u''''ct''''u''r''''''e '''''''''''">
              <a:rPr lang="fr-FR" altLang="en-US" sz="1050" smtClean="0">
                <a:cs typeface="+mn-cs"/>
              </a:rPr>
              <a:pPr/>
              <a:t>Infrastructure </a:t>
            </a:fld>
            <a:endParaRPr lang="en-US" sz="1050" dirty="0">
              <a:cs typeface="+mn-cs"/>
            </a:endParaRPr>
          </a:p>
        </p:txBody>
      </p:sp>
      <p:sp>
        <p:nvSpPr>
          <p:cNvPr id="187" name="Text Placeholder 13">
            <a:extLst>
              <a:ext uri="{FF2B5EF4-FFF2-40B4-BE49-F238E27FC236}">
                <a16:creationId xmlns:a16="http://schemas.microsoft.com/office/drawing/2014/main" id="{30F31F30-994E-4AAA-A252-0C1243EE3CCA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3567113" y="28305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F919A7D-3DA9-4B69-BF40-01CF0499F57A}" type="datetime'''''6''''''''''''''''''''''''0'''''''">
              <a:rPr lang="en-US" altLang="en-US" sz="1400" smtClean="0">
                <a:cs typeface="+mn-cs"/>
              </a:rPr>
              <a:pPr/>
              <a:t>60</a:t>
            </a:fld>
            <a:endParaRPr lang="en-US" sz="1400" dirty="0">
              <a:cs typeface="+mn-cs"/>
            </a:endParaRPr>
          </a:p>
        </p:txBody>
      </p:sp>
      <p:sp>
        <p:nvSpPr>
          <p:cNvPr id="182" name="Text Placeholder 13">
            <a:extLst>
              <a:ext uri="{FF2B5EF4-FFF2-40B4-BE49-F238E27FC236}">
                <a16:creationId xmlns:a16="http://schemas.microsoft.com/office/drawing/2014/main" id="{7D79A671-9299-446E-ABD8-D234CB0F76F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530350" y="1900238"/>
            <a:ext cx="13239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07D0441-52F6-40A9-8BEE-2754A5E41EF3}" type="datetime'''''''R''e''s''source''''s'''''' ''h''uma''''i''n''''es'''">
              <a:rPr lang="fr-FR" altLang="en-US" sz="1050" smtClean="0"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Ressources humaines</a:t>
            </a:fld>
            <a:endParaRPr lang="en-US" sz="1050" dirty="0">
              <a:cs typeface="+mn-cs"/>
            </a:endParaRPr>
          </a:p>
        </p:txBody>
      </p:sp>
      <p:sp>
        <p:nvSpPr>
          <p:cNvPr id="190" name="Text Placeholder 13">
            <a:extLst>
              <a:ext uri="{FF2B5EF4-FFF2-40B4-BE49-F238E27FC236}">
                <a16:creationId xmlns:a16="http://schemas.microsoft.com/office/drawing/2014/main" id="{99D153BB-7656-4D9A-94B0-91E0F5A5D63F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69900" y="2219325"/>
            <a:ext cx="23844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BCAD500-9352-4789-BA80-8B68B63D1974}" type="datetime'Gestion ''du'' programm''e'' et a''dm''i''''nist''''ration'''">
              <a:rPr lang="fr-FR" altLang="en-US" sz="1050" smtClean="0">
                <a:cs typeface="+mn-cs"/>
              </a:rPr>
              <a:pPr/>
              <a:t>Gestion du programme et administration</a:t>
            </a:fld>
            <a:endParaRPr lang="en-US" sz="1050" dirty="0">
              <a:cs typeface="+mn-cs"/>
            </a:endParaRPr>
          </a:p>
        </p:txBody>
      </p:sp>
      <p:sp>
        <p:nvSpPr>
          <p:cNvPr id="90" name="Text Placeholder 13">
            <a:extLst>
              <a:ext uri="{FF2B5EF4-FFF2-40B4-BE49-F238E27FC236}">
                <a16:creationId xmlns:a16="http://schemas.microsoft.com/office/drawing/2014/main" id="{C9DB93BD-101C-41E8-85C7-CE1D9F63B6F9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574800" y="4133850"/>
            <a:ext cx="127952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50E0A1B-1041-4E2D-A47A-F64FCA540B0D}" type="datetime'''E''qu''''ipe''m''''''''''''''e''nt''s ''m''édi''''ca''l'''''">
              <a:rPr lang="en-US" altLang="en-US" sz="1050" smtClean="0">
                <a:cs typeface="+mn-cs"/>
              </a:rPr>
              <a:pPr/>
              <a:t>Equipements médical</a:t>
            </a:fld>
            <a:endParaRPr lang="en-US" sz="1050" dirty="0">
              <a:cs typeface="+mn-cs"/>
            </a:endParaRPr>
          </a:p>
        </p:txBody>
      </p:sp>
      <p:sp>
        <p:nvSpPr>
          <p:cNvPr id="189" name="Text Placeholder 13">
            <a:extLst>
              <a:ext uri="{FF2B5EF4-FFF2-40B4-BE49-F238E27FC236}">
                <a16:creationId xmlns:a16="http://schemas.microsoft.com/office/drawing/2014/main" id="{D1912984-E788-41D9-A4B2-C0EEFBF088D8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858963" y="2538413"/>
            <a:ext cx="99536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9580E04-E11C-4E4E-9B40-591C44566283}" type="datetime'''''''''F''on''''''''''ct''i''on''''n''''e''men''''t'''' '">
              <a:rPr lang="fr-FR" altLang="en-US" sz="1050" smtClean="0">
                <a:cs typeface="+mn-cs"/>
              </a:rPr>
              <a:pPr/>
              <a:t>Fonctionnement </a:t>
            </a:fld>
            <a:endParaRPr lang="en-US" sz="1050" dirty="0">
              <a:cs typeface="+mn-cs"/>
            </a:endParaRPr>
          </a:p>
        </p:txBody>
      </p:sp>
      <p:sp>
        <p:nvSpPr>
          <p:cNvPr id="180" name="Text Placeholder 13">
            <a:extLst>
              <a:ext uri="{FF2B5EF4-FFF2-40B4-BE49-F238E27FC236}">
                <a16:creationId xmlns:a16="http://schemas.microsoft.com/office/drawing/2014/main" id="{88381428-8A22-4582-ACB7-5653287AAB5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225550" y="3814763"/>
            <a:ext cx="16287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6F074F3-D246-4D11-9787-636FEE5ED419}" type="datetime'Equipements -'''''''''' n''''''''on-mé''di''''''''''c''al'">
              <a:rPr lang="fr-FR" altLang="en-US" sz="1050" smtClean="0">
                <a:cs typeface="+mn-cs"/>
              </a:rPr>
              <a:pPr/>
              <a:t>Equipements - non-médical</a:t>
            </a:fld>
            <a:endParaRPr lang="en-US" sz="1050" dirty="0">
              <a:cs typeface="+mn-cs"/>
            </a:endParaRPr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id="{9DC47830-AC1F-4A9A-8E0C-93032D81A251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3321050" y="37877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80875C-03A9-473C-B054-51DC71C69720}" type="datetime'''''''''''''''''''''3''''''''''''5'''''''''''''''''''''''''''">
              <a:rPr lang="en-US" altLang="en-US" sz="1400" smtClean="0">
                <a:cs typeface="+mn-cs"/>
              </a:rPr>
              <a:pPr/>
              <a:t>35</a:t>
            </a:fld>
            <a:endParaRPr lang="en-US" sz="1400" dirty="0">
              <a:cs typeface="+mn-cs"/>
            </a:endParaRPr>
          </a:p>
        </p:txBody>
      </p:sp>
      <p:sp>
        <p:nvSpPr>
          <p:cNvPr id="91" name="Text Placeholder 13">
            <a:extLst>
              <a:ext uri="{FF2B5EF4-FFF2-40B4-BE49-F238E27FC236}">
                <a16:creationId xmlns:a16="http://schemas.microsoft.com/office/drawing/2014/main" id="{E916EDF6-0ED6-4810-B113-64E64F6ABF60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031875" y="4452938"/>
            <a:ext cx="18224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BA7DC3E-A01C-403B-811D-98FA2CB18E52}" type="datetime'Mai''n''''te''''nan''''ce ''d''e''''''s ''é''quip''''eme''nts'">
              <a:rPr lang="en-US" altLang="en-US" sz="1050" smtClean="0">
                <a:cs typeface="+mn-cs"/>
              </a:rPr>
              <a:pPr/>
              <a:t>Maintenance des équipements</a:t>
            </a:fld>
            <a:endParaRPr lang="en-US" sz="1050" dirty="0">
              <a:cs typeface="+mn-cs"/>
            </a:endParaRP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0A1E5446-65A9-4735-A623-5E8A0CF00C5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-19050" y="4772025"/>
            <a:ext cx="28733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E44758E-32DE-4B40-A84F-15AD74D8192D}" type="datetime'Confér''e''nces, c''ongrès, sé''minai''res, et fo''rmatio''ns'">
              <a:rPr lang="fr-FR" altLang="en-US" sz="1050" smtClean="0">
                <a:cs typeface="+mn-cs"/>
              </a:rPr>
              <a:pPr/>
              <a:t>Conférences, congrès, séminaires, et formations</a:t>
            </a:fld>
            <a:endParaRPr lang="en-US" sz="1050" dirty="0">
              <a:cs typeface="+mn-cs"/>
            </a:endParaRPr>
          </a:p>
        </p:txBody>
      </p:sp>
      <p:sp>
        <p:nvSpPr>
          <p:cNvPr id="93" name="Text Placeholder 13">
            <a:extLst>
              <a:ext uri="{FF2B5EF4-FFF2-40B4-BE49-F238E27FC236}">
                <a16:creationId xmlns:a16="http://schemas.microsoft.com/office/drawing/2014/main" id="{EC3EE4A6-D837-49B5-B56F-E76875ABA5D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374775" y="5091113"/>
            <a:ext cx="14795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25FB329-1359-4763-AADB-64F9C295B12C}" type="datetime'Com''''''m''''uni''c''ati''''on ''e''''t'' ''Méd''ia'">
              <a:rPr lang="en-US" altLang="en-US" sz="1050" smtClean="0">
                <a:cs typeface="+mn-cs"/>
              </a:rPr>
              <a:pPr/>
              <a:t>Communication et Média</a:t>
            </a:fld>
            <a:endParaRPr lang="en-US" sz="1050" dirty="0">
              <a:cs typeface="+mn-cs"/>
            </a:endParaRPr>
          </a:p>
        </p:txBody>
      </p:sp>
      <p:sp>
        <p:nvSpPr>
          <p:cNvPr id="184" name="Text Placeholder 13">
            <a:extLst>
              <a:ext uri="{FF2B5EF4-FFF2-40B4-BE49-F238E27FC236}">
                <a16:creationId xmlns:a16="http://schemas.microsoft.com/office/drawing/2014/main" id="{243AC827-48CE-4AF3-A0A0-6B0EFFEA341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5861050" y="18732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F9845F-0C76-4648-8ADE-E22620457917}" type="datetime'''''2''8''''''''''7'''''''''''''''''''''''''''''''''''">
              <a:rPr lang="en-US" altLang="en-US" sz="1400" smtClean="0">
                <a:cs typeface="+mn-cs"/>
              </a:rPr>
              <a:pPr/>
              <a:t>287</a:t>
            </a:fld>
            <a:endParaRPr lang="en-US" sz="1400" dirty="0">
              <a:cs typeface="+mn-cs"/>
            </a:endParaRPr>
          </a:p>
        </p:txBody>
      </p:sp>
      <p:sp>
        <p:nvSpPr>
          <p:cNvPr id="185" name="Text Placeholder 13">
            <a:extLst>
              <a:ext uri="{FF2B5EF4-FFF2-40B4-BE49-F238E27FC236}">
                <a16:creationId xmlns:a16="http://schemas.microsoft.com/office/drawing/2014/main" id="{FD8DC29B-3D45-4767-A175-50CC846D804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4225925" y="2192338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1C3E502-6257-4C19-B3A8-6126BF234234}" type="datetime'1''''''''''''''''''''''''''''''''''''25'''''''''''''''''">
              <a:rPr lang="en-US" altLang="en-US" sz="1400" smtClean="0">
                <a:cs typeface="+mn-cs"/>
              </a:rPr>
              <a:pPr/>
              <a:t>125</a:t>
            </a:fld>
            <a:endParaRPr lang="en-US" sz="1400" dirty="0">
              <a:cs typeface="+mn-cs"/>
            </a:endParaRPr>
          </a:p>
        </p:txBody>
      </p:sp>
      <p:sp>
        <p:nvSpPr>
          <p:cNvPr id="183" name="Text Placeholder 13">
            <a:extLst>
              <a:ext uri="{FF2B5EF4-FFF2-40B4-BE49-F238E27FC236}">
                <a16:creationId xmlns:a16="http://schemas.microsoft.com/office/drawing/2014/main" id="{C93A1FD3-826C-488A-B9F2-19102D248EF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4014788" y="251142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95F456-0B4D-407F-A295-93CF551D9DE5}" type="datetime'1''''''0''''''''4'''''''''''''''''''''''''''''''''''''''''">
              <a:rPr lang="en-US" altLang="en-US" sz="1400" smtClean="0">
                <a:cs typeface="+mn-cs"/>
              </a:rPr>
              <a:pPr/>
              <a:t>104</a:t>
            </a:fld>
            <a:endParaRPr lang="en-US" sz="1400" dirty="0">
              <a:cs typeface="+mn-cs"/>
            </a:endParaRPr>
          </a:p>
        </p:txBody>
      </p:sp>
      <p:sp>
        <p:nvSpPr>
          <p:cNvPr id="181" name="Text Placeholder 13">
            <a:extLst>
              <a:ext uri="{FF2B5EF4-FFF2-40B4-BE49-F238E27FC236}">
                <a16:creationId xmlns:a16="http://schemas.microsoft.com/office/drawing/2014/main" id="{4D56C5B9-1F12-4C0B-AF73-BD808C2BED4B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3494088" y="31496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B492112-F15B-413D-BE5D-92E8B9AAF684}" type="datetime'''''''''''''''''''''''5''''''''''''''''2'''''''''''''''">
              <a:rPr lang="en-US" altLang="en-US" sz="1400" smtClean="0">
                <a:cs typeface="+mn-cs"/>
              </a:rPr>
              <a:pPr/>
              <a:t>52</a:t>
            </a:fld>
            <a:endParaRPr lang="en-US" sz="1400" dirty="0">
              <a:cs typeface="+mn-cs"/>
            </a:endParaRPr>
          </a:p>
        </p:txBody>
      </p:sp>
      <p:sp>
        <p:nvSpPr>
          <p:cNvPr id="186" name="Text Placeholder 13">
            <a:extLst>
              <a:ext uri="{FF2B5EF4-FFF2-40B4-BE49-F238E27FC236}">
                <a16:creationId xmlns:a16="http://schemas.microsoft.com/office/drawing/2014/main" id="{C5223D8C-ABD5-48EF-A731-8604FAE1A7E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3462338" y="34686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DC378F-D191-45FB-B87A-60D4FF284249}" type="datetime'''''''4''''''''''''''''''''9'''''''''''''''">
              <a:rPr lang="en-US" altLang="en-US" sz="1400" smtClean="0">
                <a:cs typeface="+mn-cs"/>
              </a:rPr>
              <a:pPr/>
              <a:t>49</a:t>
            </a:fld>
            <a:endParaRPr lang="en-US" sz="1400" dirty="0">
              <a:cs typeface="+mn-cs"/>
            </a:endParaRPr>
          </a:p>
        </p:txBody>
      </p:sp>
      <p:sp>
        <p:nvSpPr>
          <p:cNvPr id="102" name="Text Placeholder 13">
            <a:extLst>
              <a:ext uri="{FF2B5EF4-FFF2-40B4-BE49-F238E27FC236}">
                <a16:creationId xmlns:a16="http://schemas.microsoft.com/office/drawing/2014/main" id="{4E4FC596-7DC7-473E-8A3B-59CE32A07E63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275013" y="41068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8EC433F-E383-425C-B68A-03C14E20DE4B}" type="datetime'''31'''''''''''''''''">
              <a:rPr lang="en-US" altLang="en-US" sz="1400" smtClean="0">
                <a:cs typeface="+mn-cs"/>
              </a:rPr>
              <a:pPr/>
              <a:t>31</a:t>
            </a:fld>
            <a:endParaRPr lang="en-US" sz="1400" dirty="0">
              <a:cs typeface="+mn-cs"/>
            </a:endParaRPr>
          </a:p>
        </p:txBody>
      </p:sp>
      <p:sp>
        <p:nvSpPr>
          <p:cNvPr id="103" name="Text Placeholder 13">
            <a:extLst>
              <a:ext uri="{FF2B5EF4-FFF2-40B4-BE49-F238E27FC236}">
                <a16:creationId xmlns:a16="http://schemas.microsoft.com/office/drawing/2014/main" id="{CFF60141-CF9B-45DF-8EEC-65157D4A6DA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148013" y="44259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922B46-9B89-4CF5-8309-3293B1774357}" type="datetime'''''''''''''''''1''''''''''''''''''8'''''''''''''''''">
              <a:rPr lang="en-US" altLang="en-US" sz="1400" smtClean="0">
                <a:cs typeface="+mn-cs"/>
              </a:rPr>
              <a:pPr/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104" name="Text Placeholder 13">
            <a:extLst>
              <a:ext uri="{FF2B5EF4-FFF2-40B4-BE49-F238E27FC236}">
                <a16:creationId xmlns:a16="http://schemas.microsoft.com/office/drawing/2014/main" id="{13C40A40-3379-4CC7-BA7C-784BAEFFE13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095625" y="47450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603DFF-3EE5-4393-AB99-F061BB6561E9}" type="datetime'''''1''''''''''''''''''''''''''''''''''''''''3''''''''''''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105" name="Text Placeholder 13">
            <a:extLst>
              <a:ext uri="{FF2B5EF4-FFF2-40B4-BE49-F238E27FC236}">
                <a16:creationId xmlns:a16="http://schemas.microsoft.com/office/drawing/2014/main" id="{7A3D663A-7FCE-4B7E-99BB-E8B1D4CA9370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986088" y="5064125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80D545-147A-46CC-A465-36E046E1F39D}" type="datetime'''''''''''''''''''''''''''''''2'''''''''">
              <a:rPr lang="en-US" altLang="en-US" sz="1400" smtClean="0">
                <a:cs typeface="+mn-cs"/>
              </a:rPr>
              <a:pPr/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82" name="Text Placeholder 13">
            <a:extLst>
              <a:ext uri="{FF2B5EF4-FFF2-40B4-BE49-F238E27FC236}">
                <a16:creationId xmlns:a16="http://schemas.microsoft.com/office/drawing/2014/main" id="{5DCF0988-7F97-4AED-99EA-3BC5D2AFACA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703762" y="2946400"/>
            <a:ext cx="50323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b="1" dirty="0">
                <a:cs typeface="+mn-cs"/>
              </a:rPr>
              <a:t>66%</a:t>
            </a:r>
          </a:p>
        </p:txBody>
      </p:sp>
      <p:sp>
        <p:nvSpPr>
          <p:cNvPr id="263" name="TextBox 262">
            <a:extLst>
              <a:ext uri="{FF2B5EF4-FFF2-40B4-BE49-F238E27FC236}">
                <a16:creationId xmlns:a16="http://schemas.microsoft.com/office/drawing/2014/main" id="{D087E8CD-5CF3-46B5-BF9F-297AED640899}"/>
              </a:ext>
            </a:extLst>
          </p:cNvPr>
          <p:cNvSpPr txBox="1"/>
          <p:nvPr/>
        </p:nvSpPr>
        <p:spPr>
          <a:xfrm>
            <a:off x="719646" y="1106269"/>
            <a:ext cx="5047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de l’Etat par catégorie des couts (Milliards CFA)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4" name="TextBox 263">
            <a:extLst>
              <a:ext uri="{FF2B5EF4-FFF2-40B4-BE49-F238E27FC236}">
                <a16:creationId xmlns:a16="http://schemas.microsoft.com/office/drawing/2014/main" id="{5D4F39DA-86B3-49D1-9E35-ACE6AF10D4D9}"/>
              </a:ext>
            </a:extLst>
          </p:cNvPr>
          <p:cNvSpPr txBox="1"/>
          <p:nvPr/>
        </p:nvSpPr>
        <p:spPr>
          <a:xfrm>
            <a:off x="6776243" y="1068576"/>
            <a:ext cx="5047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des PTF par catégorie des couts (Milliards CFA)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C4A50325-3C9F-4A4E-B1B5-2F060C0EB618}"/>
              </a:ext>
            </a:extLst>
          </p:cNvPr>
          <p:cNvCxnSpPr>
            <a:cxnSpLocks/>
          </p:cNvCxnSpPr>
          <p:nvPr/>
        </p:nvCxnSpPr>
        <p:spPr>
          <a:xfrm flipH="1">
            <a:off x="6199188" y="1238250"/>
            <a:ext cx="14287" cy="42481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itle 2">
            <a:extLst>
              <a:ext uri="{FF2B5EF4-FFF2-40B4-BE49-F238E27FC236}">
                <a16:creationId xmlns:a16="http://schemas.microsoft.com/office/drawing/2014/main" id="{6A27D050-AA03-47BA-9FEA-7C8D81EE92AE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u PNDSS par catégorie de coûts pour le ressources de l’Etat et les ressources des PTF (2019-2023)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F820D5EA-23C3-4C31-9030-ED522FE98000}"/>
              </a:ext>
            </a:extLst>
          </p:cNvPr>
          <p:cNvSpPr txBox="1">
            <a:spLocks noChangeAspect="1"/>
          </p:cNvSpPr>
          <p:nvPr/>
        </p:nvSpPr>
        <p:spPr>
          <a:xfrm>
            <a:off x="566232" y="5533670"/>
            <a:ext cx="10908219" cy="120032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b="1" dirty="0"/>
              <a:t>66% des ressources publiques:  </a:t>
            </a:r>
            <a:r>
              <a:rPr lang="fr-FR" dirty="0"/>
              <a:t>ressources humaines, gestion du programme et administration, et fonctionnem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b="1" dirty="0"/>
              <a:t>17% des ressources des PTF</a:t>
            </a:r>
            <a:r>
              <a:rPr lang="fr-FR" dirty="0"/>
              <a:t>: médicaments et consommables médicaux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b="1" dirty="0"/>
              <a:t>46% des ressources des PTF</a:t>
            </a:r>
            <a:r>
              <a:rPr lang="fr-FR" dirty="0"/>
              <a:t>: gestion du programme, assistance technique et fonctionnement</a:t>
            </a:r>
          </a:p>
        </p:txBody>
      </p:sp>
    </p:spTree>
    <p:extLst>
      <p:ext uri="{BB962C8B-B14F-4D97-AF65-F5344CB8AC3E}">
        <p14:creationId xmlns:p14="http://schemas.microsoft.com/office/powerpoint/2010/main" val="10651594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B159CC-EDA5-4950-8203-3AC492F865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5184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10" imgW="416" imgH="416" progId="TCLayout.ActiveDocument.1">
                  <p:embed/>
                </p:oleObj>
              </mc:Choice>
              <mc:Fallback>
                <p:oleObj name="think-cell Slide" r:id="rId10" imgW="416" imgH="41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9B159CC-EDA5-4950-8203-3AC492F86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2ECEBB13-CEB6-40F2-81FA-5B5467D8D48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97231002"/>
              </p:ext>
            </p:extLst>
          </p:nvPr>
        </p:nvGraphicFramePr>
        <p:xfrm>
          <a:off x="788988" y="1843088"/>
          <a:ext cx="3643312" cy="3643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994FEA5-5E3F-4B19-8E23-AF6F884CA84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022725" y="1743075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08127D7-AE63-46E5-81DA-1B0C1D9A3056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022725" y="2006600"/>
            <a:ext cx="250825" cy="18732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F86D2725-2043-4755-ADA3-74C8189101D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324350" y="1738313"/>
            <a:ext cx="11731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66D4916-10D0-46EE-BCAE-14B05FA7DAF2}" type="datetime'''N''ive''a''''u'''''''''''''''''' ''''''Ce''n''''''tra''l'">
              <a:rPr lang="en-US" altLang="en-US" sz="1400" smtClean="0">
                <a:cs typeface="+mn-cs"/>
              </a:rPr>
              <a:pPr/>
              <a:t>Niveau Central</a:t>
            </a:fld>
            <a:endParaRPr lang="en-US" sz="1400" dirty="0">
              <a:cs typeface="+mn-cs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FD21E3A9-A569-416A-9689-0BA974BB89D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24350" y="2001838"/>
            <a:ext cx="12319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400" dirty="0">
                <a:cs typeface="+mn-cs"/>
              </a:rPr>
              <a:t>Niveau régiona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EB65649-3B6E-4350-9F18-60A31BC9C223}"/>
              </a:ext>
            </a:extLst>
          </p:cNvPr>
          <p:cNvSpPr txBox="1"/>
          <p:nvPr/>
        </p:nvSpPr>
        <p:spPr>
          <a:xfrm>
            <a:off x="5083341" y="3302001"/>
            <a:ext cx="1380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dirty="0"/>
              <a:t>Dakar</a:t>
            </a:r>
            <a:br>
              <a:rPr lang="fr-FR" sz="1200" dirty="0"/>
            </a:br>
            <a:r>
              <a:rPr lang="fr-FR" sz="1200" b="1" dirty="0"/>
              <a:t>244,454,762,983</a:t>
            </a:r>
            <a:endParaRPr lang="en-US" sz="1200" b="1" dirty="0"/>
          </a:p>
        </p:txBody>
      </p:sp>
      <p:sp>
        <p:nvSpPr>
          <p:cNvPr id="32" name="Title 2">
            <a:extLst>
              <a:ext uri="{FF2B5EF4-FFF2-40B4-BE49-F238E27FC236}">
                <a16:creationId xmlns:a16="http://schemas.microsoft.com/office/drawing/2014/main" id="{74029E66-83BD-4198-ABDB-C5CCD75C1FC8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géographique des ressources du PNDSS (2019-2023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09E363F4-900F-459A-A7C4-B61AEB676B36}"/>
              </a:ext>
            </a:extLst>
          </p:cNvPr>
          <p:cNvSpPr txBox="1"/>
          <p:nvPr/>
        </p:nvSpPr>
        <p:spPr>
          <a:xfrm>
            <a:off x="6272500" y="1132612"/>
            <a:ext cx="5047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par région</a:t>
            </a:r>
            <a:b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3551DB9-5DCC-416F-AC84-82812F6F781E}"/>
              </a:ext>
            </a:extLst>
          </p:cNvPr>
          <p:cNvSpPr txBox="1"/>
          <p:nvPr/>
        </p:nvSpPr>
        <p:spPr>
          <a:xfrm>
            <a:off x="872045" y="1132612"/>
            <a:ext cx="5047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par niveau</a:t>
            </a:r>
            <a:b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2019-2023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68F75D2-AE5D-4357-A143-E7EE813B964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811813" y="2001838"/>
            <a:ext cx="6233128" cy="427065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3FCF6DEF-1083-4AD0-B38C-51DB05D87525}"/>
              </a:ext>
            </a:extLst>
          </p:cNvPr>
          <p:cNvSpPr txBox="1">
            <a:spLocks noChangeAspect="1"/>
          </p:cNvSpPr>
          <p:nvPr/>
        </p:nvSpPr>
        <p:spPr>
          <a:xfrm>
            <a:off x="307151" y="5674880"/>
            <a:ext cx="5811580" cy="10919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b="1" dirty="0"/>
              <a:t>44%</a:t>
            </a:r>
            <a:r>
              <a:rPr lang="fr-FR" dirty="0"/>
              <a:t> des ressources sont disponibles </a:t>
            </a:r>
            <a:r>
              <a:rPr lang="fr-FR" b="1" dirty="0"/>
              <a:t>au niveau central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b="1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b="1" dirty="0"/>
              <a:t>56%</a:t>
            </a:r>
            <a:r>
              <a:rPr lang="fr-FR" dirty="0"/>
              <a:t> des ressources sont disponibles </a:t>
            </a:r>
            <a:r>
              <a:rPr lang="fr-FR" b="1" dirty="0"/>
              <a:t>au niveau régional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1206950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94914364-82D8-4688-A508-08E25678DA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015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58" imgW="416" imgH="416" progId="TCLayout.ActiveDocument.1">
                  <p:embed/>
                </p:oleObj>
              </mc:Choice>
              <mc:Fallback>
                <p:oleObj name="think-cell Slide" r:id="rId58" imgW="416" imgH="41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94914364-82D8-4688-A508-08E25678DA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0" name="TextBox 189">
            <a:extLst>
              <a:ext uri="{FF2B5EF4-FFF2-40B4-BE49-F238E27FC236}">
                <a16:creationId xmlns:a16="http://schemas.microsoft.com/office/drawing/2014/main" id="{ABCB6089-6BE4-42A1-AC4F-BB0A3A15F4F5}"/>
              </a:ext>
            </a:extLst>
          </p:cNvPr>
          <p:cNvSpPr txBox="1"/>
          <p:nvPr/>
        </p:nvSpPr>
        <p:spPr>
          <a:xfrm rot="10800000">
            <a:off x="11601649" y="1635186"/>
            <a:ext cx="615553" cy="1271620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dirty="0"/>
              <a:t>Ressources par habitant en CFA</a:t>
            </a:r>
            <a:endParaRPr lang="en-US" dirty="0"/>
          </a:p>
        </p:txBody>
      </p:sp>
      <p:graphicFrame>
        <p:nvGraphicFramePr>
          <p:cNvPr id="173" name="Chart 172">
            <a:extLst>
              <a:ext uri="{FF2B5EF4-FFF2-40B4-BE49-F238E27FC236}">
                <a16:creationId xmlns:a16="http://schemas.microsoft.com/office/drawing/2014/main" id="{B5EDB550-D295-4E7D-B6FA-4D5987E2520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05606033"/>
              </p:ext>
            </p:extLst>
          </p:nvPr>
        </p:nvGraphicFramePr>
        <p:xfrm>
          <a:off x="755650" y="1000125"/>
          <a:ext cx="10998200" cy="4105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622" name="Text Placeholder 13">
            <a:extLst>
              <a:ext uri="{FF2B5EF4-FFF2-40B4-BE49-F238E27FC236}">
                <a16:creationId xmlns:a16="http://schemas.microsoft.com/office/drawing/2014/main" id="{CB0BA5E3-7887-4556-9AE8-960D0C06D96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66713" y="2501900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F13EE5-6D7F-4F90-9BEF-0651CF3948E6}" type="datetime'''''''''''2''''''''''''''''''''''''''''''''''''0''''0'">
              <a:rPr lang="en-US" altLang="en-US" sz="1400" smtClean="0">
                <a:cs typeface="+mn-cs"/>
              </a:rPr>
              <a:pPr/>
              <a:t>200</a:t>
            </a:fld>
            <a:endParaRPr lang="en-US" sz="1400" dirty="0">
              <a:cs typeface="+mn-cs"/>
            </a:endParaRPr>
          </a:p>
        </p:txBody>
      </p:sp>
      <p:sp>
        <p:nvSpPr>
          <p:cNvPr id="620" name="Text Placeholder 13">
            <a:extLst>
              <a:ext uri="{FF2B5EF4-FFF2-40B4-BE49-F238E27FC236}">
                <a16:creationId xmlns:a16="http://schemas.microsoft.com/office/drawing/2014/main" id="{D1C0BABE-68EE-4418-967F-E07F3ED1B79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65138" y="427831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B4C91FF-FB5A-4BDE-A974-B093C361E014}" type="datetime'''5''''''''''''''''''''''''''''''''''''''''0'''''''''''''''''">
              <a:rPr lang="en-US" altLang="en-US" sz="1400" smtClean="0">
                <a:cs typeface="+mn-cs"/>
              </a:rPr>
              <a:pPr/>
              <a:t>50</a:t>
            </a:fld>
            <a:endParaRPr lang="en-US" sz="1400" dirty="0">
              <a:cs typeface="+mn-cs"/>
            </a:endParaRPr>
          </a:p>
        </p:txBody>
      </p:sp>
      <p:sp>
        <p:nvSpPr>
          <p:cNvPr id="429" name="Text Placeholder 13">
            <a:extLst>
              <a:ext uri="{FF2B5EF4-FFF2-40B4-BE49-F238E27FC236}">
                <a16:creationId xmlns:a16="http://schemas.microsoft.com/office/drawing/2014/main" id="{D8D4EB10-6C15-41A4-9B1A-46C27401124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66713" y="3686175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6E1BAE-B069-48D5-963D-991AD31E96D4}" type="datetime'''''1''''''''''0''''''''''''''0'''''''''''''''''''">
              <a:rPr lang="en-US" altLang="en-US" sz="1400" smtClean="0">
                <a:cs typeface="+mn-cs"/>
              </a:rPr>
              <a:pPr/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623" name="Text Placeholder 13">
            <a:extLst>
              <a:ext uri="{FF2B5EF4-FFF2-40B4-BE49-F238E27FC236}">
                <a16:creationId xmlns:a16="http://schemas.microsoft.com/office/drawing/2014/main" id="{A0A33F4D-26EF-46B6-8251-ADA1886EAC4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6713" y="1909763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2A1262B-9421-46F3-AA50-FB78F63798FF}" type="datetime'''''''''25''''''''''0'''''''''''''">
              <a:rPr lang="en-US" altLang="en-US" sz="1400" smtClean="0">
                <a:cs typeface="+mn-cs"/>
              </a:rPr>
              <a:pPr/>
              <a:t>250</a:t>
            </a:fld>
            <a:endParaRPr lang="en-US" sz="1400" dirty="0">
              <a:cs typeface="+mn-cs"/>
            </a:endParaRPr>
          </a:p>
        </p:txBody>
      </p:sp>
      <p:sp>
        <p:nvSpPr>
          <p:cNvPr id="100" name="Text Placeholder 13">
            <a:extLst>
              <a:ext uri="{FF2B5EF4-FFF2-40B4-BE49-F238E27FC236}">
                <a16:creationId xmlns:a16="http://schemas.microsoft.com/office/drawing/2014/main" id="{B9E4370D-3FE8-41B7-91AF-F875A88218A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66713" y="1317625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5612356-780D-426E-8A68-84EED0ECBD0B}" type="datetime'''''3''''''''''''''''''''''''''''0''0'''''''''''''''''">
              <a:rPr lang="en-US" altLang="en-US" sz="1400" smtClean="0">
                <a:cs typeface="+mn-cs"/>
              </a:rPr>
              <a:pPr/>
              <a:t>300</a:t>
            </a:fld>
            <a:endParaRPr lang="en-US" sz="1400" dirty="0">
              <a:cs typeface="+mn-cs"/>
            </a:endParaRPr>
          </a:p>
        </p:txBody>
      </p:sp>
      <p:sp>
        <p:nvSpPr>
          <p:cNvPr id="621" name="Text Placeholder 13">
            <a:extLst>
              <a:ext uri="{FF2B5EF4-FFF2-40B4-BE49-F238E27FC236}">
                <a16:creationId xmlns:a16="http://schemas.microsoft.com/office/drawing/2014/main" id="{83E2A954-D47E-4435-97C0-3E940BA0102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6713" y="309403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773DF04-CC60-4959-9621-70CCB42A510A}" type="datetime'''''''''''''''''''''''''''''''''''''''''''''''15''''''''0'''">
              <a:rPr lang="en-US" altLang="en-US" sz="1400" smtClean="0">
                <a:cs typeface="+mn-cs"/>
              </a:rPr>
              <a:pPr/>
              <a:t>150</a:t>
            </a:fld>
            <a:endParaRPr lang="en-US" sz="1400" dirty="0">
              <a:cs typeface="+mn-cs"/>
            </a:endParaRPr>
          </a:p>
        </p:txBody>
      </p:sp>
      <p:sp>
        <p:nvSpPr>
          <p:cNvPr id="424" name="Text Placeholder 13">
            <a:extLst>
              <a:ext uri="{FF2B5EF4-FFF2-40B4-BE49-F238E27FC236}">
                <a16:creationId xmlns:a16="http://schemas.microsoft.com/office/drawing/2014/main" id="{5CFF5C10-4663-4920-A96B-952D1245794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63563" y="487045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97C6B69-9735-4A1A-A922-092FD9ADFEE7}" type="datetime'''''''''0''''''''''''''''''''''''''''''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27" name="Text Placeholder 13">
            <a:extLst>
              <a:ext uri="{FF2B5EF4-FFF2-40B4-BE49-F238E27FC236}">
                <a16:creationId xmlns:a16="http://schemas.microsoft.com/office/drawing/2014/main" id="{8C64E3A2-5510-4D22-AC49-1C42309DF66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66800" y="430212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0D67D0-03D2-4426-BD0C-2A8D18F9F9E8}" type="datetime'''''''''''''''''''''''''''''''3''''4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34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02" name="Text Placeholder 13">
            <a:extLst>
              <a:ext uri="{FF2B5EF4-FFF2-40B4-BE49-F238E27FC236}">
                <a16:creationId xmlns:a16="http://schemas.microsoft.com/office/drawing/2014/main" id="{0FC01870-2866-486F-B25D-A69AE6C6E39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207375" y="5027613"/>
            <a:ext cx="419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D9C441-7C51-4AE2-9410-C8D64092635D}" type="datetime'''''F''a''''''''t''''i''''''c''''''''k'''''">
              <a:rPr lang="en-US" altLang="en-US" sz="1200" smtClean="0">
                <a:cs typeface="+mn-cs"/>
              </a:rPr>
              <a:pPr/>
              <a:t>Fatick</a:t>
            </a:fld>
            <a:endParaRPr lang="en-US" sz="1200" dirty="0">
              <a:cs typeface="+mn-cs"/>
            </a:endParaRPr>
          </a:p>
        </p:txBody>
      </p:sp>
      <p:sp>
        <p:nvSpPr>
          <p:cNvPr id="125" name="Text Placeholder 13">
            <a:extLst>
              <a:ext uri="{FF2B5EF4-FFF2-40B4-BE49-F238E27FC236}">
                <a16:creationId xmlns:a16="http://schemas.microsoft.com/office/drawing/2014/main" id="{19905360-5417-497B-B8D3-1A40992DC0C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47725" y="5027613"/>
            <a:ext cx="703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A76C93-B314-4387-8C2C-0FDE9F481A0B}" type="datetime'''K''ed''o''''''''''''''''''''''''''''''''''u''''go''''u'">
              <a:rPr lang="en-US" altLang="en-US" sz="1200" smtClean="0">
                <a:cs typeface="+mn-cs"/>
              </a:rPr>
              <a:pPr/>
              <a:t>Kedougou</a:t>
            </a:fld>
            <a:endParaRPr lang="en-US" sz="1200" dirty="0">
              <a:cs typeface="+mn-cs"/>
            </a:endParaRPr>
          </a:p>
        </p:txBody>
      </p:sp>
      <p:sp>
        <p:nvSpPr>
          <p:cNvPr id="211" name="Text Placeholder 13">
            <a:extLst>
              <a:ext uri="{FF2B5EF4-FFF2-40B4-BE49-F238E27FC236}">
                <a16:creationId xmlns:a16="http://schemas.microsoft.com/office/drawing/2014/main" id="{09819BC2-648A-4C6C-BC76-69414E4645E5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667875" y="5027613"/>
            <a:ext cx="3841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9A571B-7192-489A-9796-CCD96882D19A}" type="datetime'''''''''''Th''''i''''''''''''''''''''''''''''e''''''s'''''">
              <a:rPr lang="en-US" altLang="en-US" sz="1200" smtClean="0">
                <a:cs typeface="+mn-cs"/>
              </a:rPr>
              <a:pPr/>
              <a:t>Thies</a:t>
            </a:fld>
            <a:endParaRPr lang="en-US" sz="1200" dirty="0">
              <a:cs typeface="+mn-cs"/>
            </a:endParaRPr>
          </a:p>
        </p:txBody>
      </p:sp>
      <p:sp useBgFill="1">
        <p:nvSpPr>
          <p:cNvPr id="137" name="Text Placeholder 13">
            <a:extLst>
              <a:ext uri="{FF2B5EF4-FFF2-40B4-BE49-F238E27FC236}">
                <a16:creationId xmlns:a16="http://schemas.microsoft.com/office/drawing/2014/main" id="{3070BD91-87D7-4DED-95BB-5784BF363B3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814513" y="2971800"/>
            <a:ext cx="212725" cy="547688"/>
          </a:xfrm>
          <a:prstGeom prst="rect">
            <a:avLst/>
          </a:prstGeom>
          <a:ln>
            <a:noFill/>
          </a:ln>
          <a:effectLst/>
        </p:spPr>
        <p:txBody>
          <a:bodyPr vert="vert270" wrap="none" lIns="0" tIns="25400" rIns="0" bIns="2540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E17A5FF-D422-4F11-8C46-E2F80F8EB789}" type="datetime'''''''''15'''''',''''1''8''''''''''''''''6'''''">
              <a:rPr lang="en-US" altLang="en-US" sz="1400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5,186</a:t>
            </a:fld>
            <a:endParaRPr lang="en-US" sz="1400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58" name="Text Placeholder 13">
            <a:extLst>
              <a:ext uri="{FF2B5EF4-FFF2-40B4-BE49-F238E27FC236}">
                <a16:creationId xmlns:a16="http://schemas.microsoft.com/office/drawing/2014/main" id="{4C0F15CC-32DE-4D24-990F-9D7BA1280A0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232150" y="403701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D0DBE06-8C7E-45DF-8E31-E7732C6F704D}" type="datetime'''''''''''''''''''''''''''''''''5''''''7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7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32" name="Text Placeholder 13">
            <a:extLst>
              <a:ext uri="{FF2B5EF4-FFF2-40B4-BE49-F238E27FC236}">
                <a16:creationId xmlns:a16="http://schemas.microsoft.com/office/drawing/2014/main" id="{5A1E0829-D0CF-4FEE-8282-7D4D7EFD539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635125" y="5027613"/>
            <a:ext cx="5683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CCC80B-DE94-41B2-9464-B91639CD38D2}" type="datetime'''''''''''Se''''''d''''h''i''o''''''''''''''''''u'''''''''">
              <a:rPr lang="en-US" altLang="en-US" sz="1200" smtClean="0">
                <a:cs typeface="+mn-cs"/>
              </a:rPr>
              <a:pPr/>
              <a:t>Sedhiou</a:t>
            </a:fld>
            <a:endParaRPr lang="en-US" sz="1200" dirty="0">
              <a:cs typeface="+mn-cs"/>
            </a:endParaRPr>
          </a:p>
        </p:txBody>
      </p:sp>
      <p:sp>
        <p:nvSpPr>
          <p:cNvPr id="150" name="Text Placeholder 13">
            <a:extLst>
              <a:ext uri="{FF2B5EF4-FFF2-40B4-BE49-F238E27FC236}">
                <a16:creationId xmlns:a16="http://schemas.microsoft.com/office/drawing/2014/main" id="{24871C24-3867-46D3-B8BF-A77C053D2A2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41575" y="5027613"/>
            <a:ext cx="4000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134A24-4D23-40E6-9CF0-C9B9C0B90EBD}" type="datetime'''K''''''''o''''''''''''l''''''''''''''''''d''''''a'">
              <a:rPr lang="en-US" altLang="en-US" sz="1200" smtClean="0">
                <a:cs typeface="+mn-cs"/>
              </a:rPr>
              <a:pPr/>
              <a:t>Kolda</a:t>
            </a:fld>
            <a:endParaRPr lang="en-US" sz="1200" dirty="0">
              <a:cs typeface="+mn-cs"/>
            </a:endParaRPr>
          </a:p>
        </p:txBody>
      </p:sp>
      <p:sp>
        <p:nvSpPr>
          <p:cNvPr id="170" name="Text Placeholder 13">
            <a:extLst>
              <a:ext uri="{FF2B5EF4-FFF2-40B4-BE49-F238E27FC236}">
                <a16:creationId xmlns:a16="http://schemas.microsoft.com/office/drawing/2014/main" id="{2C4E0B5F-49F8-4FB0-B3BB-C79FFBF6EA9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385050" y="411162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7182D85-6BCB-4D24-89F9-82A5142A16B6}" type="datetime'''''''''''''''''''5''''''''''0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0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68" name="Text Placeholder 13">
            <a:extLst>
              <a:ext uri="{FF2B5EF4-FFF2-40B4-BE49-F238E27FC236}">
                <a16:creationId xmlns:a16="http://schemas.microsoft.com/office/drawing/2014/main" id="{9BB4E8C0-8470-41CE-9793-84696D99100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942013" y="4102100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7EE3AE-D849-44F2-9202-402457FE03C9}" type="datetime'''''''''''5''''''''''''''''''''''''''''''''1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1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7" name="Text Placeholder 13">
            <a:extLst>
              <a:ext uri="{FF2B5EF4-FFF2-40B4-BE49-F238E27FC236}">
                <a16:creationId xmlns:a16="http://schemas.microsoft.com/office/drawing/2014/main" id="{E26B4409-92BD-466A-8A9B-69FD8136B84F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881313" y="5027613"/>
            <a:ext cx="965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7E2D28-7884-4940-8B6A-073AC49DF151}" type="datetime'T''a''mb''''''a''''''''''''''c''o''un''''d''''''''''''''a'">
              <a:rPr lang="en-US" altLang="en-US" sz="1200" smtClean="0">
                <a:cs typeface="+mn-cs"/>
              </a:rPr>
              <a:pPr/>
              <a:t>Tambacounda</a:t>
            </a:fld>
            <a:endParaRPr lang="en-US" sz="1200" dirty="0">
              <a:cs typeface="+mn-cs"/>
            </a:endParaRPr>
          </a:p>
        </p:txBody>
      </p:sp>
      <p:sp useBgFill="1">
        <p:nvSpPr>
          <p:cNvPr id="498" name="Text Placeholder 13">
            <a:extLst>
              <a:ext uri="{FF2B5EF4-FFF2-40B4-BE49-F238E27FC236}">
                <a16:creationId xmlns:a16="http://schemas.microsoft.com/office/drawing/2014/main" id="{3DE406BA-0DB6-4073-AD66-EAD2487A6DB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979863" y="3155950"/>
            <a:ext cx="212725" cy="549275"/>
          </a:xfrm>
          <a:prstGeom prst="rect">
            <a:avLst/>
          </a:prstGeom>
          <a:ln>
            <a:noFill/>
          </a:ln>
          <a:effectLst/>
        </p:spPr>
        <p:txBody>
          <a:bodyPr vert="vert270" wrap="none" lIns="0" tIns="25400" rIns="0" bIns="2540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509A95C-04CF-4CF8-AC23-AA102740168C}" type="datetime'''1''''''''3'''',''''''''''''''''0''''''''''9''9'''''''''">
              <a:rPr lang="en-US" altLang="en-US" sz="1400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/>
              <a:t>13,099</a:t>
            </a:fld>
            <a:endParaRPr lang="en-US" sz="1400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89" name="Text Placeholder 13">
            <a:extLst>
              <a:ext uri="{FF2B5EF4-FFF2-40B4-BE49-F238E27FC236}">
                <a16:creationId xmlns:a16="http://schemas.microsoft.com/office/drawing/2014/main" id="{1D10ECDD-02D7-4C49-A8EF-8BDC7A3836B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397500" y="421481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23FC5C-EC47-4935-85CF-BDD74A26D8A0}" type="datetime'''4''''''''''''''2''''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4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176" name="Text Placeholder 13">
            <a:extLst>
              <a:ext uri="{FF2B5EF4-FFF2-40B4-BE49-F238E27FC236}">
                <a16:creationId xmlns:a16="http://schemas.microsoft.com/office/drawing/2014/main" id="{68792963-1795-4F41-9607-2C9E83FE185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772525" y="4170363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B35967-0EAE-41BD-BF9D-3DFCFC81575A}" type="datetime'''''''4''''5''''''''''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4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83" name="Text Placeholder 13">
            <a:extLst>
              <a:ext uri="{FF2B5EF4-FFF2-40B4-BE49-F238E27FC236}">
                <a16:creationId xmlns:a16="http://schemas.microsoft.com/office/drawing/2014/main" id="{C9DC300E-108A-46C1-9E12-5F86C8735B20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446588" y="5027613"/>
            <a:ext cx="720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AAB30D9-D6EA-49D4-BB68-B00E7A6DB3DA}" type="datetime'''''''''''Zi''''g''''''''''''''''''''u''i''n''''''''c''''hor'">
              <a:rPr lang="en-US" altLang="en-US" sz="1200" smtClean="0">
                <a:cs typeface="+mn-cs"/>
              </a:rPr>
              <a:pPr/>
              <a:t>Ziguinchor</a:t>
            </a:fld>
            <a:endParaRPr lang="en-US" sz="1200" dirty="0">
              <a:cs typeface="+mn-cs"/>
            </a:endParaRPr>
          </a:p>
        </p:txBody>
      </p:sp>
      <p:sp>
        <p:nvSpPr>
          <p:cNvPr id="188" name="Text Placeholder 13">
            <a:extLst>
              <a:ext uri="{FF2B5EF4-FFF2-40B4-BE49-F238E27FC236}">
                <a16:creationId xmlns:a16="http://schemas.microsoft.com/office/drawing/2014/main" id="{ED1CEDF4-427D-4C07-8F86-81DAD398417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262563" y="5027613"/>
            <a:ext cx="5334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E73891-5BDB-40A9-8DEA-80E76AC20BF5}" type="datetime'''''K''af''''''''''f''''''''''ri''''''''''''''''''''''ne'">
              <a:rPr lang="en-US" altLang="en-US" sz="1200" smtClean="0">
                <a:cs typeface="+mn-cs"/>
              </a:rPr>
              <a:pPr/>
              <a:t>Kaffrine</a:t>
            </a:fld>
            <a:endParaRPr lang="en-US" sz="1200" dirty="0">
              <a:cs typeface="+mn-cs"/>
            </a:endParaRPr>
          </a:p>
        </p:txBody>
      </p:sp>
      <p:sp>
        <p:nvSpPr>
          <p:cNvPr id="165" name="Text Placeholder 13">
            <a:extLst>
              <a:ext uri="{FF2B5EF4-FFF2-40B4-BE49-F238E27FC236}">
                <a16:creationId xmlns:a16="http://schemas.microsoft.com/office/drawing/2014/main" id="{95389A98-3230-4333-9304-B86E55974527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035675" y="5027613"/>
            <a:ext cx="433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BDD7CA-D75E-43A5-AA30-94CB22CD2A35}" type="datetime'''''''''L''''''''''''''o''''''''''''u''''''''''g''''a'''''''">
              <a:rPr lang="en-US" altLang="en-US" sz="1200" smtClean="0">
                <a:cs typeface="+mn-cs"/>
              </a:rPr>
              <a:pPr/>
              <a:t>Louga</a:t>
            </a:fld>
            <a:endParaRPr lang="en-US" sz="1200" dirty="0">
              <a:cs typeface="+mn-cs"/>
            </a:endParaRPr>
          </a:p>
        </p:txBody>
      </p:sp>
      <p:sp>
        <p:nvSpPr>
          <p:cNvPr id="196" name="Text Placeholder 13">
            <a:extLst>
              <a:ext uri="{FF2B5EF4-FFF2-40B4-BE49-F238E27FC236}">
                <a16:creationId xmlns:a16="http://schemas.microsoft.com/office/drawing/2014/main" id="{BC1075CB-A535-4CB6-A540-ACEAEA3A8BF3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6734175" y="5027613"/>
            <a:ext cx="477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26F05A-FBBC-4C53-844C-2E2AE4FB72FA}" type="datetime'''''''''''''''''''M''''a''''''t''''''''''''''''''''''a''m'">
              <a:rPr lang="en-US" altLang="en-US" sz="1200" smtClean="0">
                <a:cs typeface="+mn-cs"/>
              </a:rPr>
              <a:pPr/>
              <a:t>Matam</a:t>
            </a:fld>
            <a:endParaRPr lang="en-US" sz="1200" dirty="0">
              <a:cs typeface="+mn-cs"/>
            </a:endParaRPr>
          </a:p>
        </p:txBody>
      </p:sp>
      <p:sp>
        <p:nvSpPr>
          <p:cNvPr id="166" name="Text Placeholder 13">
            <a:extLst>
              <a:ext uri="{FF2B5EF4-FFF2-40B4-BE49-F238E27FC236}">
                <a16:creationId xmlns:a16="http://schemas.microsoft.com/office/drawing/2014/main" id="{A6FE9F0A-3EBF-4D1A-84E1-83B4FF56A92A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489825" y="5027613"/>
            <a:ext cx="4095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394F9A-7575-4364-B2B7-A8BB2725B89F}" type="datetime'''''''S''a''i''n''''''''t''''''''''-Lo''''u''i''''''s'">
              <a:rPr lang="en-US" altLang="en-US" sz="1200" smtClean="0">
                <a:cs typeface="+mn-cs"/>
              </a:rPr>
              <a:pPr/>
              <a:t>Saint-Louis</a:t>
            </a:fld>
            <a:endParaRPr lang="en-US" sz="1200" dirty="0">
              <a:cs typeface="+mn-cs"/>
            </a:endParaRPr>
          </a:p>
        </p:txBody>
      </p:sp>
      <p:sp>
        <p:nvSpPr>
          <p:cNvPr id="175" name="Text Placeholder 13">
            <a:extLst>
              <a:ext uri="{FF2B5EF4-FFF2-40B4-BE49-F238E27FC236}">
                <a16:creationId xmlns:a16="http://schemas.microsoft.com/office/drawing/2014/main" id="{E7237DA5-6771-481C-8FE7-4452EB1DE1E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863013" y="5027613"/>
            <a:ext cx="552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E5A9B1-64E0-49BB-843C-43B7EF0E039F}" type="datetime'''K''''''''''a''''''o''''''''l''a''''''''''c''''''k'''''">
              <a:rPr lang="en-US" altLang="en-US" sz="1200" smtClean="0">
                <a:cs typeface="+mn-cs"/>
              </a:rPr>
              <a:pPr/>
              <a:t>Kaolack</a:t>
            </a:fld>
            <a:endParaRPr lang="en-US" sz="1200" dirty="0">
              <a:cs typeface="+mn-cs"/>
            </a:endParaRPr>
          </a:p>
        </p:txBody>
      </p:sp>
      <p:sp useBgFill="1">
        <p:nvSpPr>
          <p:cNvPr id="136" name="Text Placeholder 13">
            <a:extLst>
              <a:ext uri="{FF2B5EF4-FFF2-40B4-BE49-F238E27FC236}">
                <a16:creationId xmlns:a16="http://schemas.microsoft.com/office/drawing/2014/main" id="{32ABD0E7-DC5A-4E7D-B368-2D25D7342D27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755188" y="3716338"/>
            <a:ext cx="212725" cy="457200"/>
          </a:xfrm>
          <a:prstGeom prst="rect">
            <a:avLst/>
          </a:prstGeom>
          <a:ln>
            <a:noFill/>
          </a:ln>
          <a:effectLst/>
        </p:spPr>
        <p:txBody>
          <a:bodyPr vert="vert270" wrap="none" lIns="0" tIns="25400" rIns="0" bIns="2540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903B0DD-521C-4708-823F-FB5AD36A11C8}" type="datetime'7'''''''''',''''''''''''''''''''''''''8''''''''2''0'">
              <a:rPr lang="en-US" altLang="en-US" sz="1400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/>
              <a:t>7,820</a:t>
            </a:fld>
            <a:endParaRPr lang="en-US" sz="1400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 useBgFill="1">
        <p:nvSpPr>
          <p:cNvPr id="62" name="Text Placeholder 13">
            <a:extLst>
              <a:ext uri="{FF2B5EF4-FFF2-40B4-BE49-F238E27FC236}">
                <a16:creationId xmlns:a16="http://schemas.microsoft.com/office/drawing/2014/main" id="{4A7A21DF-3291-4E48-A8AA-C8E812B69F53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10475913" y="3708400"/>
            <a:ext cx="212725" cy="457200"/>
          </a:xfrm>
          <a:prstGeom prst="rect">
            <a:avLst/>
          </a:prstGeom>
          <a:ln>
            <a:noFill/>
          </a:ln>
          <a:effectLst/>
        </p:spPr>
        <p:txBody>
          <a:bodyPr vert="vert270" wrap="none" lIns="0" tIns="25400" rIns="0" bIns="2540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F570AFD-8DA4-4429-B4CE-B4F6A1EE3C22}" type="datetime'''7'''',''''''''''''''''''9''''''2''''2'''''''''''''">
              <a:rPr lang="en-US" altLang="en-US" sz="1400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7,922</a:t>
            </a:fld>
            <a:endParaRPr lang="en-US" sz="1400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212" name="Text Placeholder 13">
            <a:extLst>
              <a:ext uri="{FF2B5EF4-FFF2-40B4-BE49-F238E27FC236}">
                <a16:creationId xmlns:a16="http://schemas.microsoft.com/office/drawing/2014/main" id="{1ED6E5A1-07B2-4372-8938-C6769E3AC3D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294938" y="5027613"/>
            <a:ext cx="576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27A63C-4E79-47FE-92A7-CB512A0B9D7E}" type="datetime'D''''''''''''''i''''''''''''''ou''''r''''''''''''''b''el'''">
              <a:rPr lang="en-US" altLang="en-US" sz="1200" smtClean="0">
                <a:cs typeface="+mn-cs"/>
              </a:rPr>
              <a:pPr/>
              <a:t>Diourbel</a:t>
            </a:fld>
            <a:endParaRPr lang="en-US" sz="1200" dirty="0">
              <a:cs typeface="+mn-cs"/>
            </a:endParaRPr>
          </a:p>
        </p:txBody>
      </p:sp>
      <p:sp>
        <p:nvSpPr>
          <p:cNvPr id="135" name="Text Placeholder 13">
            <a:extLst>
              <a:ext uri="{FF2B5EF4-FFF2-40B4-BE49-F238E27FC236}">
                <a16:creationId xmlns:a16="http://schemas.microsoft.com/office/drawing/2014/main" id="{5D551FF4-BE57-406B-9864-3C0DDF5EA0DE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787525" y="4210050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7F5970-D762-4A55-8501-DF2985F8C1C1}" type="datetime'''''4''2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4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482" name="Text Placeholder 13">
            <a:extLst>
              <a:ext uri="{FF2B5EF4-FFF2-40B4-BE49-F238E27FC236}">
                <a16:creationId xmlns:a16="http://schemas.microsoft.com/office/drawing/2014/main" id="{E785FD0F-87A5-44A0-96EE-BA92EBB2AF58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903663" y="1811338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2BC4E0-4039-498B-8DFB-091891B4044F}" type="datetime'''''''''''''''''''''2''''4''''''4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44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2" name="Text Placeholder 13">
            <a:extLst>
              <a:ext uri="{FF2B5EF4-FFF2-40B4-BE49-F238E27FC236}">
                <a16:creationId xmlns:a16="http://schemas.microsoft.com/office/drawing/2014/main" id="{165D4E53-3547-44D9-B823-077AD3321AE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509838" y="399732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8B4FA6-E60A-4DE2-8F3A-D32D6B9420C7}" type="datetime'''''''''6''''''''''''''0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60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483" name="Text Placeholder 13">
            <a:extLst>
              <a:ext uri="{FF2B5EF4-FFF2-40B4-BE49-F238E27FC236}">
                <a16:creationId xmlns:a16="http://schemas.microsoft.com/office/drawing/2014/main" id="{7E97BC5E-5A4F-412B-B452-CFEC72BE8CE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9494838" y="373221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A925B6-7F57-41E1-9098-0FD473EB0845}" type="datetime'''''''''''''''''''''8''2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8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85" name="Text Placeholder 13">
            <a:extLst>
              <a:ext uri="{FF2B5EF4-FFF2-40B4-BE49-F238E27FC236}">
                <a16:creationId xmlns:a16="http://schemas.microsoft.com/office/drawing/2014/main" id="{FCB5DA46-9B16-4238-AB2D-6B46CA0B538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4675188" y="419893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B3AF50-8E34-4D4C-A12B-B246DCF4A0C0}" type="datetime'''''4''3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4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97" name="Text Placeholder 13">
            <a:extLst>
              <a:ext uri="{FF2B5EF4-FFF2-40B4-BE49-F238E27FC236}">
                <a16:creationId xmlns:a16="http://schemas.microsoft.com/office/drawing/2014/main" id="{093C536E-5253-47C6-8B5C-1DFA8C7640E5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840538" y="430688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B320F2-841B-4E8D-AECE-06481DD55D8D}" type="datetime'''''''''''3''''''''''''''''''''''''''''''''''''''4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34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03" name="Text Placeholder 13">
            <a:extLst>
              <a:ext uri="{FF2B5EF4-FFF2-40B4-BE49-F238E27FC236}">
                <a16:creationId xmlns:a16="http://schemas.microsoft.com/office/drawing/2014/main" id="{923B98B6-255B-4FF8-AF54-09571B08F0D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8285163" y="425608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C12062-D9BC-4F07-9835-75E8123273D8}" type="datetime'3''''''''''''''''''''''''8''''''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38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484" name="Text Placeholder 13">
            <a:extLst>
              <a:ext uri="{FF2B5EF4-FFF2-40B4-BE49-F238E27FC236}">
                <a16:creationId xmlns:a16="http://schemas.microsoft.com/office/drawing/2014/main" id="{1A9E5FA4-C0FD-4EB1-A745-76AD75F80389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215563" y="386238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FAA986-6BC3-4B62-8189-1786F03A6352}" type="datetime'''''''''''''''''''''''''''''''''''''7''''''1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71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10" name="Text Placeholder 13">
            <a:extLst>
              <a:ext uri="{FF2B5EF4-FFF2-40B4-BE49-F238E27FC236}">
                <a16:creationId xmlns:a16="http://schemas.microsoft.com/office/drawing/2014/main" id="{95678A1C-B802-4437-9AB6-F5A3927C3AF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3878263" y="5027613"/>
            <a:ext cx="4175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F99D32-1FED-46E1-B2ED-5DE29AD99BA2}" type="datetime'''''''''''''''D''''''''a''''''''''''k''''''''''''''''a''''''r'">
              <a:rPr lang="en-US" altLang="en-US" sz="1200" smtClean="0">
                <a:cs typeface="+mn-cs"/>
              </a:rPr>
              <a:pPr/>
              <a:t>Dakar</a:t>
            </a:fld>
            <a:endParaRPr lang="en-US" sz="1200" dirty="0"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528FAA7-BB63-486B-B522-81A0F3861CE0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7783513" y="2395538"/>
            <a:ext cx="250825" cy="187325"/>
          </a:xfrm>
          <a:prstGeom prst="rect">
            <a:avLst/>
          </a:prstGeom>
          <a:solidFill>
            <a:srgbClr val="FFC90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" name="Rectangle 218">
            <a:extLst>
              <a:ext uri="{FF2B5EF4-FFF2-40B4-BE49-F238E27FC236}">
                <a16:creationId xmlns:a16="http://schemas.microsoft.com/office/drawing/2014/main" id="{7C9109CC-A02E-4837-A09F-01DACF75D8CE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7783513" y="2659063"/>
            <a:ext cx="250825" cy="187325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2BC6E776-0AA6-4C1B-BD84-69A1C38E062D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7783513" y="2132013"/>
            <a:ext cx="250825" cy="187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78" name="Straight Connector 477">
            <a:extLst>
              <a:ext uri="{FF2B5EF4-FFF2-40B4-BE49-F238E27FC236}">
                <a16:creationId xmlns:a16="http://schemas.microsoft.com/office/drawing/2014/main" id="{B3DE70B5-3933-4252-8E20-A9DAF3837717}"/>
              </a:ext>
            </a:extLst>
          </p:cNvPr>
          <p:cNvCxnSpPr/>
          <p:nvPr>
            <p:custDataLst>
              <p:tags r:id="rId46"/>
            </p:custDataLst>
          </p:nvPr>
        </p:nvCxnSpPr>
        <p:spPr bwMode="gray">
          <a:xfrm>
            <a:off x="7694613" y="1962150"/>
            <a:ext cx="330200" cy="0"/>
          </a:xfrm>
          <a:prstGeom prst="line">
            <a:avLst/>
          </a:prstGeom>
          <a:ln w="19050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01" name="Rectangle 400">
            <a:extLst>
              <a:ext uri="{FF2B5EF4-FFF2-40B4-BE49-F238E27FC236}">
                <a16:creationId xmlns:a16="http://schemas.microsoft.com/office/drawing/2014/main" id="{18E79138-BE9D-4287-86D8-D7E96D0D8253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7783513" y="2922588"/>
            <a:ext cx="250825" cy="1873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2" name="Rectangle 401">
            <a:extLst>
              <a:ext uri="{FF2B5EF4-FFF2-40B4-BE49-F238E27FC236}">
                <a16:creationId xmlns:a16="http://schemas.microsoft.com/office/drawing/2014/main" id="{F3E18699-019A-461F-84FE-A4D8A439BB51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7783513" y="3186113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0" name="Isosceles Triangle 469">
            <a:extLst>
              <a:ext uri="{FF2B5EF4-FFF2-40B4-BE49-F238E27FC236}">
                <a16:creationId xmlns:a16="http://schemas.microsoft.com/office/drawing/2014/main" id="{DEF2219C-4ED4-43EF-A9FA-C33880AF11E1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7815263" y="1917700"/>
            <a:ext cx="88900" cy="88900"/>
          </a:xfrm>
          <a:prstGeom prst="triangl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7" name="Text Placeholder 13">
            <a:extLst>
              <a:ext uri="{FF2B5EF4-FFF2-40B4-BE49-F238E27FC236}">
                <a16:creationId xmlns:a16="http://schemas.microsoft.com/office/drawing/2014/main" id="{98F74C32-98CC-45E6-A3C7-D6807975F34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085138" y="1863725"/>
            <a:ext cx="24717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BDAE1E-AC2F-4771-B373-8FCEF3003CD6}" type="datetime'Ressou''rces'' p''a''r ha''''''bi''''''''tant'''''' pa''r an'">
              <a:rPr lang="fr-FR" altLang="en-US" sz="1400" smtClean="0">
                <a:cs typeface="+mn-cs"/>
              </a:rPr>
              <a:pPr/>
              <a:t>Ressources par habitant par an</a:t>
            </a:fld>
            <a:endParaRPr lang="en-US" sz="1400" dirty="0">
              <a:cs typeface="+mn-cs"/>
            </a:endParaRPr>
          </a:p>
        </p:txBody>
      </p:sp>
      <p:sp>
        <p:nvSpPr>
          <p:cNvPr id="80" name="Text Placeholder 13">
            <a:extLst>
              <a:ext uri="{FF2B5EF4-FFF2-40B4-BE49-F238E27FC236}">
                <a16:creationId xmlns:a16="http://schemas.microsoft.com/office/drawing/2014/main" id="{358CD6DC-02A5-499F-A140-4DE46003E7BF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085138" y="2390775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4538BA-603A-4491-831C-60EE60711643}" type="datetime'''''M''''''''é''n''''a''''g''''''''''''''''''''''e''''''s''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208" name="Text Placeholder 13">
            <a:extLst>
              <a:ext uri="{FF2B5EF4-FFF2-40B4-BE49-F238E27FC236}">
                <a16:creationId xmlns:a16="http://schemas.microsoft.com/office/drawing/2014/main" id="{BAC69366-6EF0-43B9-A427-AC5158E7FC4E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085138" y="2127250"/>
            <a:ext cx="1044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90DEE3-B38E-40DC-8EB9-AF1C06788BDC}" type="datetime'''S''e''''c''t''''''''''''''e''ur'''''' p''r''''''''''i''v''é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209" name="Text Placeholder 13">
            <a:extLst>
              <a:ext uri="{FF2B5EF4-FFF2-40B4-BE49-F238E27FC236}">
                <a16:creationId xmlns:a16="http://schemas.microsoft.com/office/drawing/2014/main" id="{8A7C624A-BC02-4C4E-9B01-469551D4011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8085138" y="2654300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943E09-E026-407D-A6E5-494B2E6260E6}" type="datetime'''''Co''l''lectivi''''t''é''''s ''territo''''riale''''s'''''">
              <a:rPr lang="en-US" altLang="en-US" sz="1400" smtClean="0">
                <a:cs typeface="+mn-cs"/>
              </a:rPr>
              <a:pPr/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251" name="Text Placeholder 13">
            <a:extLst>
              <a:ext uri="{FF2B5EF4-FFF2-40B4-BE49-F238E27FC236}">
                <a16:creationId xmlns:a16="http://schemas.microsoft.com/office/drawing/2014/main" id="{6A303DB8-00AA-4E14-80B8-D1B81ADC0D77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85138" y="2917825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C055B6-4511-475C-8773-4784FCEA659E}" type="datetime'''''''''''''''''PT''''''F''''''''''''''''''''''''''''''''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252" name="Text Placeholder 13">
            <a:extLst>
              <a:ext uri="{FF2B5EF4-FFF2-40B4-BE49-F238E27FC236}">
                <a16:creationId xmlns:a16="http://schemas.microsoft.com/office/drawing/2014/main" id="{6339A92C-D937-4B03-90D3-CC375789B9A8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085138" y="3181350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39CA37C-6318-46D7-9B2F-B4F5C021C94E}" type="datetime'''''''''E''t''''a''''''''''''''''''''''''''''t''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462" name="TextBox 461">
            <a:extLst>
              <a:ext uri="{FF2B5EF4-FFF2-40B4-BE49-F238E27FC236}">
                <a16:creationId xmlns:a16="http://schemas.microsoft.com/office/drawing/2014/main" id="{10B3FE02-70DB-42BE-859F-EABE6702A82B}"/>
              </a:ext>
            </a:extLst>
          </p:cNvPr>
          <p:cNvSpPr txBox="1"/>
          <p:nvPr/>
        </p:nvSpPr>
        <p:spPr>
          <a:xfrm>
            <a:off x="-45617" y="1544638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sp>
        <p:nvSpPr>
          <p:cNvPr id="652" name="Title 2">
            <a:extLst>
              <a:ext uri="{FF2B5EF4-FFF2-40B4-BE49-F238E27FC236}">
                <a16:creationId xmlns:a16="http://schemas.microsoft.com/office/drawing/2014/main" id="{48B7D173-2DD1-4A8F-9914-8F1397BA5A18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par régions par rapport aux ressources par habitant par année Milliards CFA) (2019-2023)</a:t>
            </a:r>
          </a:p>
        </p:txBody>
      </p:sp>
      <p:sp>
        <p:nvSpPr>
          <p:cNvPr id="654" name="TextBox 653">
            <a:extLst>
              <a:ext uri="{FF2B5EF4-FFF2-40B4-BE49-F238E27FC236}">
                <a16:creationId xmlns:a16="http://schemas.microsoft.com/office/drawing/2014/main" id="{F0A26C40-028C-4D53-8E46-876464A47A00}"/>
              </a:ext>
            </a:extLst>
          </p:cNvPr>
          <p:cNvSpPr txBox="1">
            <a:spLocks noChangeAspect="1"/>
          </p:cNvSpPr>
          <p:nvPr/>
        </p:nvSpPr>
        <p:spPr>
          <a:xfrm>
            <a:off x="439738" y="5573712"/>
            <a:ext cx="11492286" cy="112210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b="1" dirty="0"/>
              <a:t>Forte variabilité</a:t>
            </a:r>
            <a:r>
              <a:rPr lang="fr-FR" dirty="0"/>
              <a:t> entre les régions en termes de ressources par habitant et par année</a:t>
            </a:r>
          </a:p>
          <a:p>
            <a:pPr algn="just"/>
            <a:endParaRPr lang="fr-F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Ressources moyennes par habitant par année= 12 800 CFA</a:t>
            </a:r>
          </a:p>
        </p:txBody>
      </p:sp>
    </p:spTree>
    <p:extLst>
      <p:ext uri="{BB962C8B-B14F-4D97-AF65-F5344CB8AC3E}">
        <p14:creationId xmlns:p14="http://schemas.microsoft.com/office/powerpoint/2010/main" val="394898631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de la présent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C0131B-FE0C-44B6-BF0E-51179E86B25C}"/>
              </a:ext>
            </a:extLst>
          </p:cNvPr>
          <p:cNvSpPr txBox="1"/>
          <p:nvPr/>
        </p:nvSpPr>
        <p:spPr>
          <a:xfrm>
            <a:off x="850076" y="1133369"/>
            <a:ext cx="514114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algn="just">
              <a:spcBef>
                <a:spcPts val="1200"/>
              </a:spcBef>
              <a:buAutoNum type="arabicParenR"/>
            </a:pPr>
            <a:r>
              <a:rPr lang="fr-FR" sz="2000" dirty="0"/>
              <a:t>Introduction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Objectifs de la cartographie des ressource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Méthodologi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Produits de la cartographie des ressources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émonstration de l’outil dynamique de la visualisation des données</a:t>
            </a:r>
          </a:p>
          <a:p>
            <a:pPr marL="514350" indent="-514350">
              <a:spcBef>
                <a:spcPts val="1200"/>
              </a:spcBef>
              <a:buAutoNum type="arabicParenR"/>
            </a:pPr>
            <a:r>
              <a:rPr lang="fr-FR" sz="2000" dirty="0"/>
              <a:t>Résultats de la cartographie des ressources du PNDS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OS 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7EFFCB-270E-49AE-B3C6-4258B4FC3A13}"/>
              </a:ext>
            </a:extLst>
          </p:cNvPr>
          <p:cNvSpPr txBox="1"/>
          <p:nvPr/>
        </p:nvSpPr>
        <p:spPr>
          <a:xfrm>
            <a:off x="6805613" y="1252455"/>
            <a:ext cx="5139985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ésultats de la cartographie des ressources du DI SRMNIA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iorité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ecommandations </a:t>
            </a:r>
            <a:endParaRPr lang="fr-FR" sz="16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21523D-6B93-48D3-9BF9-EC8E449E0DE5}"/>
              </a:ext>
            </a:extLst>
          </p:cNvPr>
          <p:cNvCxnSpPr>
            <a:cxnSpLocks/>
          </p:cNvCxnSpPr>
          <p:nvPr/>
        </p:nvCxnSpPr>
        <p:spPr>
          <a:xfrm>
            <a:off x="6178650" y="1133369"/>
            <a:ext cx="0" cy="5238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48E38CB-F232-4052-AFF6-635DB1CB8968}"/>
              </a:ext>
            </a:extLst>
          </p:cNvPr>
          <p:cNvSpPr/>
          <p:nvPr/>
        </p:nvSpPr>
        <p:spPr>
          <a:xfrm>
            <a:off x="6262688" y="1252455"/>
            <a:ext cx="542925" cy="3906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603520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9347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9" imgW="470" imgH="469" progId="TCLayout.ActiveDocument.1">
                  <p:embed/>
                </p:oleObj>
              </mc:Choice>
              <mc:Fallback>
                <p:oleObj name="think-cell Slide" r:id="rId59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-27432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135" name="Chart 134">
            <a:extLst>
              <a:ext uri="{FF2B5EF4-FFF2-40B4-BE49-F238E27FC236}">
                <a16:creationId xmlns:a16="http://schemas.microsoft.com/office/drawing/2014/main" id="{C6CA54A6-D5E5-4934-A7E8-CC4ED143738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72496219"/>
              </p:ext>
            </p:extLst>
          </p:nvPr>
        </p:nvGraphicFramePr>
        <p:xfrm>
          <a:off x="6742113" y="2246313"/>
          <a:ext cx="5267325" cy="3030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F7F54C5A-E47B-435F-94DF-9AEB2A29A49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550025" y="5087938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125237B-D54B-4D0F-AE29-C42D0D5F29A9}" type="datetime'''''''''''''''''''0''''''''''''''''''''''''''''''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13" name="Text Placeholder 13">
            <a:extLst>
              <a:ext uri="{FF2B5EF4-FFF2-40B4-BE49-F238E27FC236}">
                <a16:creationId xmlns:a16="http://schemas.microsoft.com/office/drawing/2014/main" id="{38750FFB-3EE9-4DB0-8754-14E0D05F7D1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451600" y="365601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2F28345-E22A-4CB3-A48A-B9BDF1FE17E1}" type="datetime'''6''''''0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cs typeface="+mn-cs"/>
            </a:endParaRPr>
          </a:p>
        </p:txBody>
      </p:sp>
      <p:sp>
        <p:nvSpPr>
          <p:cNvPr id="110" name="Text Placeholder 13">
            <a:extLst>
              <a:ext uri="{FF2B5EF4-FFF2-40B4-BE49-F238E27FC236}">
                <a16:creationId xmlns:a16="http://schemas.microsoft.com/office/drawing/2014/main" id="{95919560-E834-40C0-9C68-459E89E1DA88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451600" y="4610100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3550AE1-0941-4FCB-BD02-6CE0781B1E03}" type="datetime'''''2''''''''''''0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109" name="Text Placeholder 13">
            <a:extLst>
              <a:ext uri="{FF2B5EF4-FFF2-40B4-BE49-F238E27FC236}">
                <a16:creationId xmlns:a16="http://schemas.microsoft.com/office/drawing/2014/main" id="{CE455C5E-316B-4E4E-88B0-3B9D7932D44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53175" y="2222501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D98B6C-CF60-4D5D-BC6F-730AFE0405DB}" type="datetime'''''''''''''''''''''''''''''''''''''''1''2''''''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lang="en-US" sz="1400" dirty="0">
              <a:cs typeface="+mn-cs"/>
            </a:endParaRPr>
          </a:p>
        </p:txBody>
      </p:sp>
      <p:sp>
        <p:nvSpPr>
          <p:cNvPr id="112" name="Text Placeholder 13">
            <a:extLst>
              <a:ext uri="{FF2B5EF4-FFF2-40B4-BE49-F238E27FC236}">
                <a16:creationId xmlns:a16="http://schemas.microsoft.com/office/drawing/2014/main" id="{D03961EE-052E-4F29-80D4-4FA5406C5325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451600" y="41322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47AF28-C1C2-42F3-8B06-E13B01BC0775}" type="datetime'4''''''''''''''''0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134" name="Text Placeholder 13">
            <a:extLst>
              <a:ext uri="{FF2B5EF4-FFF2-40B4-BE49-F238E27FC236}">
                <a16:creationId xmlns:a16="http://schemas.microsoft.com/office/drawing/2014/main" id="{E32A9C8B-802D-409A-B39E-7FB0B55E9D9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353175" y="270033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58B80D4-1781-49EA-BFA6-321168F3CA55}" type="datetime'1''''''''''''''''''0''''''''''''''''''0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115" name="Text Placeholder 13">
            <a:extLst>
              <a:ext uri="{FF2B5EF4-FFF2-40B4-BE49-F238E27FC236}">
                <a16:creationId xmlns:a16="http://schemas.microsoft.com/office/drawing/2014/main" id="{7EF9C5DC-8DAB-4D97-B04D-3990F47EBD22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451600" y="31781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AD7681-9D5D-4DEA-B062-53B1C53F38DE}" type="datetime'''''8''''0''''''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025D784-88EC-4013-88F2-1F3054A591C3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V="1">
            <a:off x="7461250" y="2074863"/>
            <a:ext cx="1276350" cy="428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0B3C84C1-CDEC-484D-BF9F-A18D5C4FE0F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8737600" y="1839913"/>
            <a:ext cx="1274763" cy="2349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ECBAE254-9A22-4005-A944-D29442F4A37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10012363" y="1839914"/>
            <a:ext cx="1276350" cy="7286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9" name="Text Placeholder 13">
            <a:extLst>
              <a:ext uri="{FF2B5EF4-FFF2-40B4-BE49-F238E27FC236}">
                <a16:creationId xmlns:a16="http://schemas.microsoft.com/office/drawing/2014/main" id="{33DEB4D9-6300-48F2-8DFA-A319781589FE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337425" y="29067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2DB0D5-6DE4-494B-B303-40216373CDF6}" type="datetime'''''''''''''''''''''''''''''18'''''''''''''''''''''">
              <a:rPr lang="en-US" altLang="en-US" sz="1400" smtClean="0">
                <a:cs typeface="+mn-cs"/>
              </a:rPr>
              <a:pPr/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80" name="Text Placeholder 13">
            <a:extLst>
              <a:ext uri="{FF2B5EF4-FFF2-40B4-BE49-F238E27FC236}">
                <a16:creationId xmlns:a16="http://schemas.microsoft.com/office/drawing/2014/main" id="{F0795E39-E154-4CDA-8AB3-729F20E271B4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337425" y="32480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0B79F6-6060-498E-B2BB-1B72082BBD9C}" type="datetime'''''''''''''''''''''''''''''''''''''''10'">
              <a:rPr lang="en-US" altLang="en-US" sz="1400" smtClean="0">
                <a:cs typeface="+mn-cs"/>
              </a:rPr>
              <a:pPr/>
              <a:t>10</a:t>
            </a:fld>
            <a:endParaRPr lang="en-US" sz="1400" dirty="0">
              <a:cs typeface="+mn-cs"/>
            </a:endParaRPr>
          </a:p>
        </p:txBody>
      </p:sp>
      <p:sp>
        <p:nvSpPr>
          <p:cNvPr id="86" name="Text Placeholder 13">
            <a:extLst>
              <a:ext uri="{FF2B5EF4-FFF2-40B4-BE49-F238E27FC236}">
                <a16:creationId xmlns:a16="http://schemas.microsoft.com/office/drawing/2014/main" id="{20B0C239-FFF6-4DD7-B899-73E242F1825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1164888" y="37163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965771-EB5F-4A0B-BFF7-8B1032132DC2}" type="datetime'''''''''''''''''''''''''''''''''''''''1''''''''2'">
              <a:rPr lang="en-US" altLang="en-US" sz="1400" smtClean="0">
                <a:cs typeface="+mn-cs"/>
              </a:rPr>
              <a:pPr/>
              <a:t>12</a:t>
            </a:fld>
            <a:endParaRPr lang="en-US" sz="1400" dirty="0">
              <a:cs typeface="+mn-cs"/>
            </a:endParaRPr>
          </a:p>
        </p:txBody>
      </p:sp>
      <p:sp>
        <p:nvSpPr>
          <p:cNvPr id="79" name="Text Placeholder 13">
            <a:extLst>
              <a:ext uri="{FF2B5EF4-FFF2-40B4-BE49-F238E27FC236}">
                <a16:creationId xmlns:a16="http://schemas.microsoft.com/office/drawing/2014/main" id="{24DDD775-65E3-4C5A-8560-289F854E51B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337425" y="39576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52B291-8D34-4FFA-BF48-A1D17462DAD6}" type="datetime'''''''''''49'''''''''''''''''''''''''''''''''''''''''''''">
              <a:rPr lang="en-US" altLang="en-US" sz="1400" smtClean="0">
                <a:cs typeface="+mn-cs"/>
              </a:rPr>
              <a:pPr/>
              <a:t>49</a:t>
            </a:fld>
            <a:endParaRPr lang="en-US" sz="1400" dirty="0">
              <a:cs typeface="+mn-cs"/>
            </a:endParaRPr>
          </a:p>
        </p:txBody>
      </p:sp>
      <p:sp>
        <p:nvSpPr>
          <p:cNvPr id="129" name="Text Placeholder 13">
            <a:extLst>
              <a:ext uri="{FF2B5EF4-FFF2-40B4-BE49-F238E27FC236}">
                <a16:creationId xmlns:a16="http://schemas.microsoft.com/office/drawing/2014/main" id="{8DE880A7-792A-4D28-BF25-7F962E7A66A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337425" y="48148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5B9DDF-894B-46DD-928E-36D137C32D67}" type="datetime'''''''''2''''''''''''3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51" name="Text Placeholder 13">
            <a:extLst>
              <a:ext uri="{FF2B5EF4-FFF2-40B4-BE49-F238E27FC236}">
                <a16:creationId xmlns:a16="http://schemas.microsoft.com/office/drawing/2014/main" id="{5E1B0665-2F06-4282-837F-5D60DB93CBE5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258050" y="52530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2B76D03-1BCF-4C4D-8A90-1032D6190098}" type="datetime'''''''''''''''''''''''2''01''''''''9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 dirty="0">
              <a:cs typeface="+mn-cs"/>
            </a:endParaRPr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id="{A7662C9B-D2CB-4FE8-A0EF-01FC8A46931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613775" y="28702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DE1A4C-1737-45C1-A156-01DE434A9315}" type="datetime'''''''''''''''''''''''''18'''''''''''''''''''''''''''''''">
              <a:rPr lang="en-US" altLang="en-US" sz="1400" smtClean="0">
                <a:cs typeface="+mn-cs"/>
              </a:rPr>
              <a:pPr/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82" name="Text Placeholder 13">
            <a:extLst>
              <a:ext uri="{FF2B5EF4-FFF2-40B4-BE49-F238E27FC236}">
                <a16:creationId xmlns:a16="http://schemas.microsoft.com/office/drawing/2014/main" id="{A892B1D1-A3B9-451E-8320-7B508BEA9193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613775" y="32797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52B74A-C1F4-483A-A088-951A0FF3E6F2}" type="datetime'''''''''''''''''''''''1''''''''''6'''''''''''''''">
              <a:rPr lang="en-US" altLang="en-US" sz="1400" smtClean="0">
                <a:cs typeface="+mn-cs"/>
              </a:rPr>
              <a:pPr/>
              <a:t>16</a:t>
            </a:fld>
            <a:endParaRPr lang="en-US" sz="1400" dirty="0">
              <a:cs typeface="+mn-cs"/>
            </a:endParaRPr>
          </a:p>
        </p:txBody>
      </p:sp>
      <p:sp>
        <p:nvSpPr>
          <p:cNvPr id="81" name="Text Placeholder 13">
            <a:extLst>
              <a:ext uri="{FF2B5EF4-FFF2-40B4-BE49-F238E27FC236}">
                <a16:creationId xmlns:a16="http://schemas.microsoft.com/office/drawing/2014/main" id="{3FB1BA77-88CD-48E6-BA26-D0850DC921D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613775" y="40449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5453524-003E-4F6A-977A-E9486D2629F7}" type="datetime'''''4''''''8'''''''''''''''''''''''''''''">
              <a:rPr lang="en-US" altLang="en-US" sz="1400" smtClean="0">
                <a:cs typeface="+mn-cs"/>
              </a:rPr>
              <a:pPr/>
              <a:t>48</a:t>
            </a:fld>
            <a:endParaRPr lang="en-US" sz="1400" dirty="0">
              <a:cs typeface="+mn-cs"/>
            </a:endParaRPr>
          </a:p>
        </p:txBody>
      </p:sp>
      <p:sp>
        <p:nvSpPr>
          <p:cNvPr id="130" name="Text Placeholder 13">
            <a:extLst>
              <a:ext uri="{FF2B5EF4-FFF2-40B4-BE49-F238E27FC236}">
                <a16:creationId xmlns:a16="http://schemas.microsoft.com/office/drawing/2014/main" id="{4841B666-68F4-4A6C-9A67-FC573E7E211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613775" y="48514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D5865C-5304-43E3-8686-BF32B70FA8E6}" type="datetime'''''''''''''''''''''''''''''''''''''20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52" name="Text Placeholder 13">
            <a:extLst>
              <a:ext uri="{FF2B5EF4-FFF2-40B4-BE49-F238E27FC236}">
                <a16:creationId xmlns:a16="http://schemas.microsoft.com/office/drawing/2014/main" id="{DC5CBEC1-3DED-4633-AF91-623E1663856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534400" y="52530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38B4AD-D2CC-4688-B8D7-76A6AEFA640A}" type="datetime'''''''''''''''''''20''''''''''''''''''''''''20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400" dirty="0">
              <a:cs typeface="+mn-cs"/>
            </a:endParaRPr>
          </a:p>
        </p:txBody>
      </p:sp>
      <p:sp>
        <p:nvSpPr>
          <p:cNvPr id="104" name="Text Placeholder 13">
            <a:extLst>
              <a:ext uri="{FF2B5EF4-FFF2-40B4-BE49-F238E27FC236}">
                <a16:creationId xmlns:a16="http://schemas.microsoft.com/office/drawing/2014/main" id="{6EA20603-8DA1-42A5-8554-7170D1298D88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937751" y="2387600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2490B5-2339-4F7A-82A6-0368EEB5859B}" type="datetime'''''''''''''''''''''''''''''''''3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3" name="Text Placeholder 13">
            <a:extLst>
              <a:ext uri="{FF2B5EF4-FFF2-40B4-BE49-F238E27FC236}">
                <a16:creationId xmlns:a16="http://schemas.microsoft.com/office/drawing/2014/main" id="{BC2E036E-A186-4CB4-87D7-4E5D0F51ABC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9888538" y="26368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0CD311-83A2-4F85-9B94-FC66636674B1}" type="datetime'''''''1''''''''''''''''8'''''">
              <a:rPr lang="en-US" altLang="en-US" sz="1400" smtClean="0">
                <a:cs typeface="+mn-cs"/>
              </a:rPr>
              <a:pPr/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85" name="Text Placeholder 13">
            <a:extLst>
              <a:ext uri="{FF2B5EF4-FFF2-40B4-BE49-F238E27FC236}">
                <a16:creationId xmlns:a16="http://schemas.microsoft.com/office/drawing/2014/main" id="{2F40D2D9-F855-4390-981A-348DF7518292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1164888" y="42687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6AD32C4-47C2-435A-9A92-7B6C831BB01B}" type="datetime'''''''''''''''''''''''3''''''''''''''''''4'''''''''''''">
              <a:rPr lang="en-US" altLang="en-US" sz="1400" smtClean="0">
                <a:cs typeface="+mn-cs"/>
              </a:rPr>
              <a:pPr/>
              <a:t>34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13">
            <a:extLst>
              <a:ext uri="{FF2B5EF4-FFF2-40B4-BE49-F238E27FC236}">
                <a16:creationId xmlns:a16="http://schemas.microsoft.com/office/drawing/2014/main" id="{CB50CC93-BDAB-42EB-8264-C70886B9F82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9888538" y="30083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7CC1A0-01C4-4890-8276-7BC04974FC47}" type="datetime'''''1''''''''''''''''''''''''''''''''''3''''''''''''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83" name="Text Placeholder 13">
            <a:extLst>
              <a:ext uri="{FF2B5EF4-FFF2-40B4-BE49-F238E27FC236}">
                <a16:creationId xmlns:a16="http://schemas.microsoft.com/office/drawing/2014/main" id="{CB8861EC-4721-4089-8CF1-5A461CEE360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9888538" y="40020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093E38-BC9A-4621-BD80-7D590A0E8448}" type="datetime'''''''''''''''''''''''''70'''''''''''''''">
              <a:rPr lang="en-US" altLang="en-US" sz="1400" smtClean="0">
                <a:cs typeface="+mn-cs"/>
              </a:rPr>
              <a:pPr/>
              <a:t>70</a:t>
            </a:fld>
            <a:endParaRPr lang="en-US" sz="1400" dirty="0">
              <a:cs typeface="+mn-cs"/>
            </a:endParaRPr>
          </a:p>
        </p:txBody>
      </p:sp>
      <p:sp>
        <p:nvSpPr>
          <p:cNvPr id="131" name="Text Placeholder 13">
            <a:extLst>
              <a:ext uri="{FF2B5EF4-FFF2-40B4-BE49-F238E27FC236}">
                <a16:creationId xmlns:a16="http://schemas.microsoft.com/office/drawing/2014/main" id="{E25B7F6E-A4DC-4B8B-A33C-20992817B191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894888" y="4960938"/>
            <a:ext cx="234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B42DFD-9971-426A-9475-B9A3AF36E4BF}" type="datetime'''''''''''''''''''''''''''''''''''1''''''''''1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1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53" name="Text Placeholder 13">
            <a:extLst>
              <a:ext uri="{FF2B5EF4-FFF2-40B4-BE49-F238E27FC236}">
                <a16:creationId xmlns:a16="http://schemas.microsoft.com/office/drawing/2014/main" id="{88108077-62BD-47E0-9F4F-2B4246C1535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809163" y="52530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B52E28-9843-41A7-AE05-65750B4CD8DA}" type="datetime'''''''''''''''''2''''''0''''''''''''''''''''''2''''1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 dirty="0">
              <a:cs typeface="+mn-cs"/>
            </a:endParaRPr>
          </a:p>
        </p:txBody>
      </p:sp>
      <p:sp>
        <p:nvSpPr>
          <p:cNvPr id="106" name="Text Placeholder 13">
            <a:extLst>
              <a:ext uri="{FF2B5EF4-FFF2-40B4-BE49-F238E27FC236}">
                <a16:creationId xmlns:a16="http://schemas.microsoft.com/office/drawing/2014/main" id="{9108FE58-2E44-4221-BB27-B8FD366A9F2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1214101" y="3121025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C0047C-DA95-4848-B9F5-358318E085BC}" type="datetime'''''''''''4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4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5" name="Text Placeholder 13">
            <a:extLst>
              <a:ext uri="{FF2B5EF4-FFF2-40B4-BE49-F238E27FC236}">
                <a16:creationId xmlns:a16="http://schemas.microsoft.com/office/drawing/2014/main" id="{58651EC2-3470-4340-865F-675B80EA1F9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1164888" y="33655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2DBFCC-6B22-461D-8713-0B403722144D}" type="datetime'''''''''''''17'''''''''''''''''''''''''">
              <a:rPr lang="en-US" altLang="en-US" sz="1400" smtClean="0">
                <a:cs typeface="+mn-cs"/>
              </a:rPr>
              <a:pPr/>
              <a:t>17</a:t>
            </a:fld>
            <a:endParaRPr lang="en-US" sz="1400" dirty="0">
              <a:cs typeface="+mn-cs"/>
            </a:endParaRPr>
          </a:p>
        </p:txBody>
      </p:sp>
      <p:sp>
        <p:nvSpPr>
          <p:cNvPr id="132" name="Text Placeholder 13">
            <a:extLst>
              <a:ext uri="{FF2B5EF4-FFF2-40B4-BE49-F238E27FC236}">
                <a16:creationId xmlns:a16="http://schemas.microsoft.com/office/drawing/2014/main" id="{714F723B-D1DD-460C-B49F-9EAED83EB1DD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1164888" y="48799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F03CA52-F3C6-480A-9EAC-7CD00C917F6C}" type="datetime'''''''''1''''7''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7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54" name="Text Placeholder 13">
            <a:extLst>
              <a:ext uri="{FF2B5EF4-FFF2-40B4-BE49-F238E27FC236}">
                <a16:creationId xmlns:a16="http://schemas.microsoft.com/office/drawing/2014/main" id="{B90CE5F8-1C7F-4FA2-8DF3-67A91A75080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1085513" y="52530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B29194-6377-4C68-A295-C9F0BF7C0AD2}" type="datetime'''''''2''0''''''''''2''''''''''''2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US" sz="1400" dirty="0">
              <a:cs typeface="+mn-cs"/>
            </a:endParaRPr>
          </a:p>
        </p:txBody>
      </p:sp>
      <p:sp>
        <p:nvSpPr>
          <p:cNvPr id="102" name="Text Placeholder 13">
            <a:extLst>
              <a:ext uri="{FF2B5EF4-FFF2-40B4-BE49-F238E27FC236}">
                <a16:creationId xmlns:a16="http://schemas.microsoft.com/office/drawing/2014/main" id="{633E7F67-D8C3-486B-B0EB-B91FAAF842E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662989" y="2619375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B1A668-2300-49B2-BD7E-312A5D0FED49}" type="datetime'''''''''''''''3''''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1" name="Text Placeholder 13">
            <a:extLst>
              <a:ext uri="{FF2B5EF4-FFF2-40B4-BE49-F238E27FC236}">
                <a16:creationId xmlns:a16="http://schemas.microsoft.com/office/drawing/2014/main" id="{4461E32E-216D-4094-9A1F-CEB518651CE5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11156950" y="2876550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34EDFF-956A-4C62-B1B9-8E16E08B8BBC}" type="datetime'''''''''''''''''''''''''''''''''''''''''''''84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84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00" name="Text Placeholder 13">
            <a:extLst>
              <a:ext uri="{FF2B5EF4-FFF2-40B4-BE49-F238E27FC236}">
                <a16:creationId xmlns:a16="http://schemas.microsoft.com/office/drawing/2014/main" id="{48AAB8AD-DA06-4EAE-A0EC-988FDF2DCD0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386639" y="2659063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F80CDD-2141-46EA-A993-56CFDB47AF05}" type="datetime'''''''''''''''''''''''''''''''''''''''''''''3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8" name="Text Placeholder 13">
            <a:extLst>
              <a:ext uri="{FF2B5EF4-FFF2-40B4-BE49-F238E27FC236}">
                <a16:creationId xmlns:a16="http://schemas.microsoft.com/office/drawing/2014/main" id="{0CB1B6F3-D704-45EE-8076-156BBBA9FE5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278688" y="2414588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A2FCCB-0077-4C66-80F2-A02CD5AF434E}" type="datetime'''''''''''''''''''''''''''''''''1''''''0''''3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0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9" name="Text Placeholder 13">
            <a:extLst>
              <a:ext uri="{FF2B5EF4-FFF2-40B4-BE49-F238E27FC236}">
                <a16:creationId xmlns:a16="http://schemas.microsoft.com/office/drawing/2014/main" id="{86A1B862-5D3B-4333-A0B5-45D854A322FE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8555038" y="2374900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088C5B-DFC6-4357-A65A-EFF122B69141}" type="datetime'''''''1''''''''''''''''''''''''''''''''''''''0''''''5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0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20" name="Text Placeholder 13">
            <a:extLst>
              <a:ext uri="{FF2B5EF4-FFF2-40B4-BE49-F238E27FC236}">
                <a16:creationId xmlns:a16="http://schemas.microsoft.com/office/drawing/2014/main" id="{FB871451-0399-43A4-B535-F6F03F92A1AA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9829800" y="2143125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26F7FA-941D-4AA3-AA4F-06929716FCBE}" type="datetime'''''1''''''''''''''''''''''''15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1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47" name="Text Placeholder 13">
            <a:extLst>
              <a:ext uri="{FF2B5EF4-FFF2-40B4-BE49-F238E27FC236}">
                <a16:creationId xmlns:a16="http://schemas.microsoft.com/office/drawing/2014/main" id="{11AC7728-50B4-48DC-851F-F2123746BCAD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843838" y="1944688"/>
            <a:ext cx="5111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6B90210-1F6F-4796-9032-31E31C7DCC56}" type="datetime'''''''''''''''''''''''''''''''''''''''+''2''''%'''''''">
              <a:rPr lang="en-US" altLang="en-US" sz="1400" b="1" smtClean="0">
                <a:effectLst/>
                <a:cs typeface="+mn-cs"/>
              </a:rPr>
              <a:pPr/>
              <a:t>+2%</a:t>
            </a:fld>
            <a:endParaRPr lang="en-US" sz="1400" b="1" dirty="0">
              <a:cs typeface="+mn-cs"/>
            </a:endParaRPr>
          </a:p>
        </p:txBody>
      </p:sp>
      <p:sp>
        <p:nvSpPr>
          <p:cNvPr id="148" name="Text Placeholder 13">
            <a:extLst>
              <a:ext uri="{FF2B5EF4-FFF2-40B4-BE49-F238E27FC236}">
                <a16:creationId xmlns:a16="http://schemas.microsoft.com/office/drawing/2014/main" id="{427F2BD1-40FF-4D40-BA37-0753CC709A0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118601" y="1806575"/>
            <a:ext cx="5111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FDE2F21-924A-47D7-BC46-B7D07ABFA9D2}" type="datetime'''''+''''''9%'''">
              <a:rPr lang="en-US" altLang="en-US" sz="1400" b="1" smtClean="0">
                <a:effectLst/>
                <a:cs typeface="+mn-cs"/>
              </a:rPr>
              <a:pPr/>
              <a:t>+9%</a:t>
            </a:fld>
            <a:endParaRPr lang="en-US" sz="1400" b="1" dirty="0">
              <a:cs typeface="+mn-cs"/>
            </a:endParaRPr>
          </a:p>
        </p:txBody>
      </p:sp>
      <p:sp>
        <p:nvSpPr>
          <p:cNvPr id="149" name="Text Placeholder 13">
            <a:extLst>
              <a:ext uri="{FF2B5EF4-FFF2-40B4-BE49-F238E27FC236}">
                <a16:creationId xmlns:a16="http://schemas.microsoft.com/office/drawing/2014/main" id="{F024E033-5577-4585-A663-42616AC9C602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0356850" y="2052638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DD6AA16-8EFA-48F4-A01A-2A976B1CF7D2}" type="datetime'''''''-''''''''''''''''''''2''''''''''''''''7%'''''''">
              <a:rPr lang="en-US" altLang="en-US" sz="1400" b="1" smtClean="0">
                <a:effectLst/>
                <a:cs typeface="+mn-cs"/>
              </a:rPr>
              <a:pPr/>
              <a:t>-27%</a:t>
            </a:fld>
            <a:endParaRPr lang="en-US" sz="1400" b="1" dirty="0">
              <a:cs typeface="+mn-cs"/>
            </a:endParaRPr>
          </a:p>
        </p:txBody>
      </p:sp>
      <p:sp>
        <p:nvSpPr>
          <p:cNvPr id="125" name="Rectangle 124" hidden="1">
            <a:extLst>
              <a:ext uri="{FF2B5EF4-FFF2-40B4-BE49-F238E27FC236}">
                <a16:creationId xmlns:a16="http://schemas.microsoft.com/office/drawing/2014/main" id="{1937186A-B47C-4879-8D41-0170B9F11CE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8707C2E-950B-45D1-A733-C90BA98AD5D1}"/>
              </a:ext>
            </a:extLst>
          </p:cNvPr>
          <p:cNvSpPr txBox="1">
            <a:spLocks noChangeAspect="1"/>
          </p:cNvSpPr>
          <p:nvPr/>
        </p:nvSpPr>
        <p:spPr>
          <a:xfrm>
            <a:off x="6408422" y="5594351"/>
            <a:ext cx="5601016" cy="11763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Diminution des ressources de 27% entre 2021 et 2022</a:t>
            </a:r>
            <a:endParaRPr lang="en-US" dirty="0"/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6426C781-0653-4DE5-BE03-8FA5DBC777B0}"/>
              </a:ext>
            </a:extLst>
          </p:cNvPr>
          <p:cNvSpPr txBox="1">
            <a:spLocks noChangeAspect="1"/>
          </p:cNvSpPr>
          <p:nvPr/>
        </p:nvSpPr>
        <p:spPr>
          <a:xfrm>
            <a:off x="371159" y="5594351"/>
            <a:ext cx="5601016" cy="118586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b="1" dirty="0"/>
              <a:t>PTF </a:t>
            </a:r>
            <a:r>
              <a:rPr lang="fr-FR" dirty="0"/>
              <a:t>contribue à près de </a:t>
            </a:r>
            <a:r>
              <a:rPr lang="fr-FR" b="1" dirty="0"/>
              <a:t>la moitié </a:t>
            </a:r>
            <a:r>
              <a:rPr lang="fr-FR" dirty="0"/>
              <a:t>des ressource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DCFD382-7BF5-4053-865C-EDCA5868A8BC}"/>
              </a:ext>
            </a:extLst>
          </p:cNvPr>
          <p:cNvSpPr txBox="1"/>
          <p:nvPr/>
        </p:nvSpPr>
        <p:spPr>
          <a:xfrm>
            <a:off x="895348" y="1098528"/>
            <a:ext cx="43211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du DI SRMNIA-N par source de financement (2019-2022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2B586C55-3ED5-48DF-9A2B-597CAA96A80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7EEF340F-7124-42C7-AF66-4CC4C431163E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BCF11B27-17B3-4C31-A984-4E6CDE445FB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4310211C-6E1F-4698-AC6F-BB1441176A0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161" name="Rectangle 160" hidden="1">
            <a:extLst>
              <a:ext uri="{FF2B5EF4-FFF2-40B4-BE49-F238E27FC236}">
                <a16:creationId xmlns:a16="http://schemas.microsoft.com/office/drawing/2014/main" id="{8F8C34FC-55E5-449C-8992-7BBCDFD4D24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167" name="Rectangle 166" hidden="1">
            <a:extLst>
              <a:ext uri="{FF2B5EF4-FFF2-40B4-BE49-F238E27FC236}">
                <a16:creationId xmlns:a16="http://schemas.microsoft.com/office/drawing/2014/main" id="{37D26DD7-8FB6-48E0-8920-DAE03ABEAFC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</a:endParaRPr>
          </a:p>
        </p:txBody>
      </p:sp>
      <p:sp>
        <p:nvSpPr>
          <p:cNvPr id="171" name="Rectangle 170" hidden="1">
            <a:extLst>
              <a:ext uri="{FF2B5EF4-FFF2-40B4-BE49-F238E27FC236}">
                <a16:creationId xmlns:a16="http://schemas.microsoft.com/office/drawing/2014/main" id="{6B96B8A5-DE4C-4234-9523-B7FD516FA662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</a:endParaRPr>
          </a:p>
        </p:txBody>
      </p:sp>
      <p:sp>
        <p:nvSpPr>
          <p:cNvPr id="183" name="Rectangle 182" hidden="1">
            <a:extLst>
              <a:ext uri="{FF2B5EF4-FFF2-40B4-BE49-F238E27FC236}">
                <a16:creationId xmlns:a16="http://schemas.microsoft.com/office/drawing/2014/main" id="{F399C5D1-C990-434C-A485-11417CCE1F9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189" name="Rectangle 188" hidden="1">
            <a:extLst>
              <a:ext uri="{FF2B5EF4-FFF2-40B4-BE49-F238E27FC236}">
                <a16:creationId xmlns:a16="http://schemas.microsoft.com/office/drawing/2014/main" id="{D7296D73-6C5A-4D6B-BF91-78AF7AD36590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</a:endParaRPr>
          </a:p>
        </p:txBody>
      </p:sp>
      <p:sp>
        <p:nvSpPr>
          <p:cNvPr id="195" name="Rectangle 194" hidden="1">
            <a:extLst>
              <a:ext uri="{FF2B5EF4-FFF2-40B4-BE49-F238E27FC236}">
                <a16:creationId xmlns:a16="http://schemas.microsoft.com/office/drawing/2014/main" id="{17327F20-073A-4A31-BC25-598D5F6CD605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b="1" dirty="0">
              <a:latin typeface="Arial" panose="020B0604020202020204" pitchFamily="34" charset="0"/>
            </a:endParaRPr>
          </a:p>
        </p:txBody>
      </p:sp>
      <p:sp>
        <p:nvSpPr>
          <p:cNvPr id="223" name="Rectangle 222" hidden="1">
            <a:extLst>
              <a:ext uri="{FF2B5EF4-FFF2-40B4-BE49-F238E27FC236}">
                <a16:creationId xmlns:a16="http://schemas.microsoft.com/office/drawing/2014/main" id="{D0D322EE-4EDA-4664-B2FF-F040108B287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233" name="Rectangle 232" hidden="1">
            <a:extLst>
              <a:ext uri="{FF2B5EF4-FFF2-40B4-BE49-F238E27FC236}">
                <a16:creationId xmlns:a16="http://schemas.microsoft.com/office/drawing/2014/main" id="{2692F7D5-1D65-43CB-81B3-93F77956F6B1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253" name="Rectangle 252" hidden="1">
            <a:extLst>
              <a:ext uri="{FF2B5EF4-FFF2-40B4-BE49-F238E27FC236}">
                <a16:creationId xmlns:a16="http://schemas.microsoft.com/office/drawing/2014/main" id="{FD69E80D-1EFF-416D-A3A8-0F68EF12DAC6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sp>
        <p:nvSpPr>
          <p:cNvPr id="292" name="Rectangle 291" hidden="1">
            <a:extLst>
              <a:ext uri="{FF2B5EF4-FFF2-40B4-BE49-F238E27FC236}">
                <a16:creationId xmlns:a16="http://schemas.microsoft.com/office/drawing/2014/main" id="{42644E00-A626-4318-B307-95CAF27860E4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latin typeface="Arial" panose="020B0604020202020204" pitchFamily="34" charset="0"/>
            </a:endParaRPr>
          </a:p>
        </p:txBody>
      </p:sp>
      <p:graphicFrame>
        <p:nvGraphicFramePr>
          <p:cNvPr id="92" name="Chart 91">
            <a:extLst>
              <a:ext uri="{FF2B5EF4-FFF2-40B4-BE49-F238E27FC236}">
                <a16:creationId xmlns:a16="http://schemas.microsoft.com/office/drawing/2014/main" id="{CDE35144-3C3E-4342-AF05-B6890E4AF5D0}"/>
              </a:ext>
            </a:extLst>
          </p:cNvPr>
          <p:cNvGraphicFramePr/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804746826"/>
              </p:ext>
            </p:extLst>
          </p:nvPr>
        </p:nvGraphicFramePr>
        <p:xfrm>
          <a:off x="2062163" y="1892300"/>
          <a:ext cx="3394075" cy="3384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318" name="Rectangle 317">
            <a:extLst>
              <a:ext uri="{FF2B5EF4-FFF2-40B4-BE49-F238E27FC236}">
                <a16:creationId xmlns:a16="http://schemas.microsoft.com/office/drawing/2014/main" id="{3770FBF4-4001-4E70-BDFE-A57E952ACF61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230188" y="2135188"/>
            <a:ext cx="250825" cy="187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74D8032-03AE-4E75-96D2-0C75A3F291F0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230188" y="2925763"/>
            <a:ext cx="250825" cy="1873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9" name="Rectangle 318">
            <a:extLst>
              <a:ext uri="{FF2B5EF4-FFF2-40B4-BE49-F238E27FC236}">
                <a16:creationId xmlns:a16="http://schemas.microsoft.com/office/drawing/2014/main" id="{D514DDC8-A602-4E89-A1AB-AD219AAD1944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230188" y="2398713"/>
            <a:ext cx="250825" cy="187325"/>
          </a:xfrm>
          <a:prstGeom prst="rect">
            <a:avLst/>
          </a:prstGeom>
          <a:solidFill>
            <a:srgbClr val="FFC90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0" name="Rectangle 319">
            <a:extLst>
              <a:ext uri="{FF2B5EF4-FFF2-40B4-BE49-F238E27FC236}">
                <a16:creationId xmlns:a16="http://schemas.microsoft.com/office/drawing/2014/main" id="{1B368157-DB6E-46BD-91E0-EDCF3D5FF373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230188" y="2662238"/>
            <a:ext cx="250825" cy="187325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E8B613-C3B4-4C33-88C6-4372F6E0B4B2}"/>
              </a:ext>
            </a:extLst>
          </p:cNvPr>
          <p:cNvSpPr/>
          <p:nvPr>
            <p:custDataLst>
              <p:tags r:id="rId51"/>
            </p:custDataLst>
          </p:nvPr>
        </p:nvSpPr>
        <p:spPr bwMode="auto">
          <a:xfrm>
            <a:off x="230188" y="3189288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3" name="Text Placeholder 13">
            <a:extLst>
              <a:ext uri="{FF2B5EF4-FFF2-40B4-BE49-F238E27FC236}">
                <a16:creationId xmlns:a16="http://schemas.microsoft.com/office/drawing/2014/main" id="{4BAA62FA-DE81-4D0B-B5BC-E5E567FC99C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531813" y="2393950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C325EAF-E58B-4E24-9491-54290A55EBE5}" type="datetime'M''''''''''''''é''''''''n''ag''''''e''''''''''s''''''''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322" name="Text Placeholder 13">
            <a:extLst>
              <a:ext uri="{FF2B5EF4-FFF2-40B4-BE49-F238E27FC236}">
                <a16:creationId xmlns:a16="http://schemas.microsoft.com/office/drawing/2014/main" id="{A8CFF3E8-F2FC-404C-AAA7-B289DE1CF1CB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31813" y="2130425"/>
            <a:ext cx="1065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D4BD71-D962-4AE0-BBC4-BD4880A8774B}" type="datetime'''S''''''''e''''''''ct''''''''eu''r ''Pr''''i''v''''''''é''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73" name="Text Placeholder 13">
            <a:extLst>
              <a:ext uri="{FF2B5EF4-FFF2-40B4-BE49-F238E27FC236}">
                <a16:creationId xmlns:a16="http://schemas.microsoft.com/office/drawing/2014/main" id="{D479736F-CD76-4376-99BC-EA59EB91B8E3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31813" y="2921000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69BE1E-AE3C-4D98-B8EC-06A8ED892B4D}" type="datetime'''''''''''''''''''''''P''''''T''''''F''''''''''''''''''''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74" name="Text Placeholder 13">
            <a:extLst>
              <a:ext uri="{FF2B5EF4-FFF2-40B4-BE49-F238E27FC236}">
                <a16:creationId xmlns:a16="http://schemas.microsoft.com/office/drawing/2014/main" id="{BEE8B9DD-8DFA-45CA-A765-EBD292FF9FA1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531813" y="3184525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0C5905D-5259-4F69-9C09-59C242BDB206}" type="datetime'''E''''''''t''''''a''''''''''''''''''''''''''t''''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321" name="Text Placeholder 13">
            <a:extLst>
              <a:ext uri="{FF2B5EF4-FFF2-40B4-BE49-F238E27FC236}">
                <a16:creationId xmlns:a16="http://schemas.microsoft.com/office/drawing/2014/main" id="{C02365C5-640B-4287-9ABE-6E0801FC2B1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31813" y="2657475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6829F9-7578-4F49-9A52-728BE7C27D1A}" type="datetime'''''''''C''ol''''lectivit''é''''s'' te''rrit''oriale''''''''s'">
              <a:rPr lang="en-US" altLang="en-US" sz="1400" smtClean="0">
                <a:cs typeface="+mn-cs"/>
              </a:rPr>
              <a:pPr/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89" name="Title 2">
            <a:extLst>
              <a:ext uri="{FF2B5EF4-FFF2-40B4-BE49-F238E27FC236}">
                <a16:creationId xmlns:a16="http://schemas.microsoft.com/office/drawing/2014/main" id="{7A754D1F-03E8-413E-85D6-18470B9CFB70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e financement du DI SRMNIA-N (2019-2022)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E78D77A7-3F55-4CD2-9353-81D449136817}"/>
              </a:ext>
            </a:extLst>
          </p:cNvPr>
          <p:cNvSpPr txBox="1"/>
          <p:nvPr/>
        </p:nvSpPr>
        <p:spPr>
          <a:xfrm>
            <a:off x="7156449" y="1082675"/>
            <a:ext cx="432117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volution des ressources du DI SRMNIA-N par source de financement par année (2019-2022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F35A987-9085-4FD3-87B5-C2B9BBC224CC}"/>
              </a:ext>
            </a:extLst>
          </p:cNvPr>
          <p:cNvSpPr txBox="1"/>
          <p:nvPr/>
        </p:nvSpPr>
        <p:spPr>
          <a:xfrm>
            <a:off x="6078507" y="2059335"/>
            <a:ext cx="400110" cy="1171575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677BFCD0-52CE-4B79-9870-743E6C5416E4}"/>
              </a:ext>
            </a:extLst>
          </p:cNvPr>
          <p:cNvCxnSpPr>
            <a:cxnSpLocks/>
          </p:cNvCxnSpPr>
          <p:nvPr/>
        </p:nvCxnSpPr>
        <p:spPr>
          <a:xfrm>
            <a:off x="6178650" y="1133369"/>
            <a:ext cx="0" cy="5238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0101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32FA85-DF2D-47D2-9347-ABBB394E22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32FA85-DF2D-47D2-9347-ABBB394E22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Oval 26">
            <a:extLst>
              <a:ext uri="{FF2B5EF4-FFF2-40B4-BE49-F238E27FC236}">
                <a16:creationId xmlns:a16="http://schemas.microsoft.com/office/drawing/2014/main" id="{3CF9AF8B-DE1C-4999-A770-763299F42BAC}"/>
              </a:ext>
            </a:extLst>
          </p:cNvPr>
          <p:cNvSpPr/>
          <p:nvPr/>
        </p:nvSpPr>
        <p:spPr>
          <a:xfrm>
            <a:off x="2401074" y="4234194"/>
            <a:ext cx="2286000" cy="2286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b" anchorCtr="1"/>
          <a:lstStyle/>
          <a:p>
            <a:pPr lvl="0" algn="ctr" defTabSz="914400">
              <a:defRPr/>
            </a:pPr>
            <a:r>
              <a:rPr lang="fr-FR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nalyser les contraintes liées au financement du PNDSS</a:t>
            </a:r>
          </a:p>
        </p:txBody>
      </p:sp>
      <p:sp>
        <p:nvSpPr>
          <p:cNvPr id="19" name="Oval 26">
            <a:extLst>
              <a:ext uri="{FF2B5EF4-FFF2-40B4-BE49-F238E27FC236}">
                <a16:creationId xmlns:a16="http://schemas.microsoft.com/office/drawing/2014/main" id="{E4CC2788-1A0D-43ED-825D-2CD46AC26DEE}"/>
              </a:ext>
            </a:extLst>
          </p:cNvPr>
          <p:cNvSpPr/>
          <p:nvPr/>
        </p:nvSpPr>
        <p:spPr>
          <a:xfrm>
            <a:off x="285023" y="1636261"/>
            <a:ext cx="2286000" cy="2286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fr-FR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Mesurer le niveau de financement du PNDSS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0"/>
            <a:ext cx="12192000" cy="1120878"/>
          </a:xfrm>
          <a:prstGeom prst="rect">
            <a:avLst/>
          </a:prstGeom>
        </p:spPr>
        <p:txBody>
          <a:bodyPr anchor="ctr"/>
          <a:lstStyle/>
          <a:p>
            <a:pPr>
              <a:spcBef>
                <a:spcPct val="0"/>
              </a:spcBef>
            </a:pPr>
            <a:endParaRPr lang="en-US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16642" y="28336"/>
            <a:ext cx="11049000" cy="100647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800" b="0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 dirty="0"/>
              <a:t>Objectifs de la cartographie des ressources et questions clés </a:t>
            </a:r>
          </a:p>
        </p:txBody>
      </p:sp>
      <p:sp>
        <p:nvSpPr>
          <p:cNvPr id="21" name="Oval 26">
            <a:extLst>
              <a:ext uri="{FF2B5EF4-FFF2-40B4-BE49-F238E27FC236}">
                <a16:creationId xmlns:a16="http://schemas.microsoft.com/office/drawing/2014/main" id="{F63050F8-0AA0-48EC-AF93-3203970D1FF3}"/>
              </a:ext>
            </a:extLst>
          </p:cNvPr>
          <p:cNvSpPr/>
          <p:nvPr/>
        </p:nvSpPr>
        <p:spPr>
          <a:xfrm>
            <a:off x="4399823" y="1738030"/>
            <a:ext cx="2286000" cy="2286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587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lvl="0" algn="ctr" defTabSz="914400">
              <a:defRPr/>
            </a:pPr>
            <a:r>
              <a:rPr lang="fr-FR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ctualiser la cartographie des ressources du DI de la SRMNIA-N</a:t>
            </a:r>
          </a:p>
        </p:txBody>
      </p:sp>
      <p:grpSp>
        <p:nvGrpSpPr>
          <p:cNvPr id="197" name="Groupe 196">
            <a:extLst>
              <a:ext uri="{FF2B5EF4-FFF2-40B4-BE49-F238E27FC236}">
                <a16:creationId xmlns:a16="http://schemas.microsoft.com/office/drawing/2014/main" id="{DC385293-6C8F-4BF0-B583-8E759EE46880}"/>
              </a:ext>
            </a:extLst>
          </p:cNvPr>
          <p:cNvGrpSpPr/>
          <p:nvPr/>
        </p:nvGrpSpPr>
        <p:grpSpPr>
          <a:xfrm>
            <a:off x="2113823" y="2048917"/>
            <a:ext cx="2743200" cy="2743200"/>
            <a:chOff x="4114362" y="2122714"/>
            <a:chExt cx="4061635" cy="3756894"/>
          </a:xfrm>
        </p:grpSpPr>
        <p:pic>
          <p:nvPicPr>
            <p:cNvPr id="163" name="Picture 3" descr="D:\Fullppt\005-PNG이미지\magnifying-glass-189254.png">
              <a:extLst>
                <a:ext uri="{FF2B5EF4-FFF2-40B4-BE49-F238E27FC236}">
                  <a16:creationId xmlns:a16="http://schemas.microsoft.com/office/drawing/2014/main" id="{7A2CA088-F0C5-4B94-BC72-1CE48702D12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596" b="34713"/>
            <a:stretch/>
          </p:blipFill>
          <p:spPr bwMode="auto">
            <a:xfrm flipH="1">
              <a:off x="4114362" y="2122714"/>
              <a:ext cx="4061635" cy="3756894"/>
            </a:xfrm>
            <a:prstGeom prst="teardrop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8" name="Ellipse 167">
              <a:extLst>
                <a:ext uri="{FF2B5EF4-FFF2-40B4-BE49-F238E27FC236}">
                  <a16:creationId xmlns:a16="http://schemas.microsoft.com/office/drawing/2014/main" id="{7493827A-F396-49EB-A847-10A00F21D870}"/>
                </a:ext>
              </a:extLst>
            </p:cNvPr>
            <p:cNvSpPr/>
            <p:nvPr/>
          </p:nvSpPr>
          <p:spPr>
            <a:xfrm>
              <a:off x="4323305" y="2282094"/>
              <a:ext cx="3601062" cy="3364649"/>
            </a:xfrm>
            <a:prstGeom prst="ellipse">
              <a:avLst/>
            </a:prstGeom>
            <a:ln w="19050"/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fr-FR" dirty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Réaliser la cartographie des ressources du PNDSS</a:t>
              </a:r>
              <a:endParaRPr lang="fr-FR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557E6C4A-21DB-487D-A766-DFD3D4D100AA}"/>
              </a:ext>
            </a:extLst>
          </p:cNvPr>
          <p:cNvSpPr/>
          <p:nvPr/>
        </p:nvSpPr>
        <p:spPr>
          <a:xfrm>
            <a:off x="6931706" y="1401429"/>
            <a:ext cx="5055247" cy="516864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rtlCol="0" anchor="ctr" anchorCtr="0"/>
          <a:lstStyle/>
          <a:p>
            <a:pPr lvl="0"/>
            <a:r>
              <a:rPr lang="fr-FR" sz="2000" dirty="0">
                <a:solidFill>
                  <a:schemeClr val="tx1"/>
                </a:solidFill>
              </a:rPr>
              <a:t>Cet exercice permet de répondre aux questions suivantes :</a:t>
            </a:r>
          </a:p>
          <a:p>
            <a:pPr lvl="0"/>
            <a:r>
              <a:rPr lang="fr-FR" sz="2000" dirty="0">
                <a:solidFill>
                  <a:schemeClr val="tx1"/>
                </a:solidFill>
              </a:rPr>
              <a:t>• Qui fournit des ressources pour l’implémentation des activités du PNDSS et du DI SRMNIA-N et qui les met en place ?</a:t>
            </a:r>
          </a:p>
          <a:p>
            <a:pPr lvl="0"/>
            <a:r>
              <a:rPr lang="fr-FR" sz="2000" dirty="0">
                <a:solidFill>
                  <a:schemeClr val="tx1"/>
                </a:solidFill>
              </a:rPr>
              <a:t>• Sur quelles activités (type, niveau d’implémentation) les fonds disponibles sont-ils budgétisés ?</a:t>
            </a:r>
          </a:p>
          <a:p>
            <a:pPr lvl="0"/>
            <a:r>
              <a:rPr lang="fr-FR" sz="2000" dirty="0">
                <a:solidFill>
                  <a:schemeClr val="tx1"/>
                </a:solidFill>
              </a:rPr>
              <a:t>• Dans quelle région géographique les ressources sont-elles budgétisées ? </a:t>
            </a:r>
          </a:p>
          <a:p>
            <a:pPr lvl="0"/>
            <a:r>
              <a:rPr lang="fr-FR" sz="2000" dirty="0">
                <a:solidFill>
                  <a:schemeClr val="tx1"/>
                </a:solidFill>
              </a:rPr>
              <a:t>• Comment ces financements s'alignent-ils avec les objectifs du PNDSS et du DI SRMNIA-N ?</a:t>
            </a:r>
          </a:p>
          <a:p>
            <a:pPr lvl="0"/>
            <a:r>
              <a:rPr lang="fr-FR" sz="2000" dirty="0">
                <a:solidFill>
                  <a:schemeClr val="tx1"/>
                </a:solidFill>
              </a:rPr>
              <a:t>• Quel est l'écart entre les besoins en financements et les ressources disponibles ? </a:t>
            </a:r>
          </a:p>
        </p:txBody>
      </p:sp>
    </p:spTree>
    <p:extLst>
      <p:ext uri="{BB962C8B-B14F-4D97-AF65-F5344CB8AC3E}">
        <p14:creationId xmlns:p14="http://schemas.microsoft.com/office/powerpoint/2010/main" val="399618844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F091A61B-2D55-490F-8E0E-2A7CC43E11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F091A61B-2D55-490F-8E0E-2A7CC43E11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6" name="TextBox 85">
            <a:extLst>
              <a:ext uri="{FF2B5EF4-FFF2-40B4-BE49-F238E27FC236}">
                <a16:creationId xmlns:a16="http://schemas.microsoft.com/office/drawing/2014/main" id="{49BD359B-92B3-4CF6-BBBC-294A92109F00}"/>
              </a:ext>
            </a:extLst>
          </p:cNvPr>
          <p:cNvSpPr txBox="1">
            <a:spLocks noChangeAspect="1"/>
          </p:cNvSpPr>
          <p:nvPr/>
        </p:nvSpPr>
        <p:spPr>
          <a:xfrm>
            <a:off x="8157881" y="2097741"/>
            <a:ext cx="3573323" cy="336624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algn="just"/>
            <a:r>
              <a:rPr lang="fr-FR" dirty="0"/>
              <a:t>La </a:t>
            </a:r>
            <a:r>
              <a:rPr lang="fr-FR" b="1" dirty="0"/>
              <a:t>Banque mondiale, l'USAID, GAVI, l'AFD </a:t>
            </a:r>
            <a:r>
              <a:rPr lang="fr-FR" dirty="0"/>
              <a:t>et le </a:t>
            </a:r>
            <a:r>
              <a:rPr lang="fr-FR" b="1" dirty="0"/>
              <a:t>Fonds mondial </a:t>
            </a:r>
            <a:r>
              <a:rPr lang="fr-FR" dirty="0"/>
              <a:t>sont les 5 principaux bailleurs de fonds contribuant au DI SRMNIA-N. Combinés, ils représentent environ 82% du financement des PTF pour la période 2019-2022. </a:t>
            </a:r>
            <a:endParaRPr lang="en-US" dirty="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55EC95CF-2BCB-48C1-A01A-503579C48371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es PTF du DI SRMNIA-N (2019-2022)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24646A3-3AC6-4323-B38E-F037E3B84D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0796" y="1016088"/>
            <a:ext cx="7522233" cy="5680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6449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Object 70" hidden="1">
            <a:extLst>
              <a:ext uri="{FF2B5EF4-FFF2-40B4-BE49-F238E27FC236}">
                <a16:creationId xmlns:a16="http://schemas.microsoft.com/office/drawing/2014/main" id="{629048F0-003E-48E9-91F9-FB83DE3812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4251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89" imgW="416" imgH="416" progId="TCLayout.ActiveDocument.1">
                  <p:embed/>
                </p:oleObj>
              </mc:Choice>
              <mc:Fallback>
                <p:oleObj name="think-cell Slide" r:id="rId89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2" name="Chart 211">
            <a:extLst>
              <a:ext uri="{FF2B5EF4-FFF2-40B4-BE49-F238E27FC236}">
                <a16:creationId xmlns:a16="http://schemas.microsoft.com/office/drawing/2014/main" id="{8E97A875-E8DB-4897-8FD6-BAA1AB11530E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79895010"/>
              </p:ext>
            </p:extLst>
          </p:nvPr>
        </p:nvGraphicFramePr>
        <p:xfrm>
          <a:off x="5356225" y="2184400"/>
          <a:ext cx="6586538" cy="41751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1"/>
          </a:graphicData>
        </a:graphic>
      </p:graphicFrame>
      <p:sp>
        <p:nvSpPr>
          <p:cNvPr id="185" name="Text Placeholder 13">
            <a:extLst>
              <a:ext uri="{FF2B5EF4-FFF2-40B4-BE49-F238E27FC236}">
                <a16:creationId xmlns:a16="http://schemas.microsoft.com/office/drawing/2014/main" id="{91B6EEE1-A945-4FFF-92BB-7AEACDEF53C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4967288" y="2828925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253D897-D119-4E49-81E9-A6CC02E0FB49}" type="datetime'''''''1''0''''''''''''''''''''0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160" name="Text Placeholder 13">
            <a:extLst>
              <a:ext uri="{FF2B5EF4-FFF2-40B4-BE49-F238E27FC236}">
                <a16:creationId xmlns:a16="http://schemas.microsoft.com/office/drawing/2014/main" id="{255C2831-4D00-4716-922E-AC745E26E0B4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164138" y="617061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D1DC730-2AF8-41F0-9065-FE6C82983B1B}" type="datetime'''''0''''''''''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61" name="Text Placeholder 13">
            <a:extLst>
              <a:ext uri="{FF2B5EF4-FFF2-40B4-BE49-F238E27FC236}">
                <a16:creationId xmlns:a16="http://schemas.microsoft.com/office/drawing/2014/main" id="{B4652B1A-BB38-42E6-91E2-21F4CA79ACD8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065713" y="58372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9E72FDA-34DE-47A9-83E4-7ADF81C56CD4}" type="datetime'''''''''''''''''''1''''''''''''0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400" dirty="0">
              <a:cs typeface="+mn-cs"/>
            </a:endParaRPr>
          </a:p>
        </p:txBody>
      </p:sp>
      <p:sp>
        <p:nvSpPr>
          <p:cNvPr id="259" name="Text Placeholder 13">
            <a:extLst>
              <a:ext uri="{FF2B5EF4-FFF2-40B4-BE49-F238E27FC236}">
                <a16:creationId xmlns:a16="http://schemas.microsoft.com/office/drawing/2014/main" id="{B352DE88-CD32-480C-9895-6E2930ACD3E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979988" y="2495550"/>
            <a:ext cx="282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2A8A86-CA8E-45A3-A054-653045858AD1}" type="datetime'''''''''''1''''''1''0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10</a:t>
            </a:fld>
            <a:endParaRPr lang="en-US" sz="1400" dirty="0">
              <a:cs typeface="+mn-cs"/>
            </a:endParaRPr>
          </a:p>
        </p:txBody>
      </p:sp>
      <p:sp>
        <p:nvSpPr>
          <p:cNvPr id="162" name="Text Placeholder 13">
            <a:extLst>
              <a:ext uri="{FF2B5EF4-FFF2-40B4-BE49-F238E27FC236}">
                <a16:creationId xmlns:a16="http://schemas.microsoft.com/office/drawing/2014/main" id="{6581B5E3-16FB-485E-A06C-35CB9C85029E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065713" y="550227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07BEF7E-E2FE-421D-86B0-DBE977D35A11}" type="datetime'2''''''''''''''0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169" name="Text Placeholder 13">
            <a:extLst>
              <a:ext uri="{FF2B5EF4-FFF2-40B4-BE49-F238E27FC236}">
                <a16:creationId xmlns:a16="http://schemas.microsoft.com/office/drawing/2014/main" id="{5E42099B-E350-4D32-964E-D9B765C4D402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065713" y="31638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49E9A9-5D08-4983-815D-39F52BE35988}" type="datetime'''''''''9''''''''''''''''''''''''''''0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US" sz="1400" dirty="0">
              <a:cs typeface="+mn-cs"/>
            </a:endParaRPr>
          </a:p>
        </p:txBody>
      </p:sp>
      <p:sp>
        <p:nvSpPr>
          <p:cNvPr id="164" name="Text Placeholder 13">
            <a:extLst>
              <a:ext uri="{FF2B5EF4-FFF2-40B4-BE49-F238E27FC236}">
                <a16:creationId xmlns:a16="http://schemas.microsoft.com/office/drawing/2014/main" id="{A13DE4FE-B9B8-491A-8A33-E5D7F3B505C2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065713" y="48339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D087BB9-80BA-4694-B7AD-2EDE794B4152}" type="datetime'''''''''''''''''''''''''''''''''''''4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163" name="Text Placeholder 13">
            <a:extLst>
              <a:ext uri="{FF2B5EF4-FFF2-40B4-BE49-F238E27FC236}">
                <a16:creationId xmlns:a16="http://schemas.microsoft.com/office/drawing/2014/main" id="{B5DB220B-14F1-40E9-B080-EE9DE8E67E6A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065713" y="5168900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E0DA74-8C21-46F3-A960-2020D7B8EF02}" type="datetime'''''''''''''''''''''''''''3''''''''''0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400" dirty="0">
              <a:cs typeface="+mn-cs"/>
            </a:endParaRPr>
          </a:p>
        </p:txBody>
      </p:sp>
      <p:sp>
        <p:nvSpPr>
          <p:cNvPr id="186" name="Text Placeholder 13">
            <a:extLst>
              <a:ext uri="{FF2B5EF4-FFF2-40B4-BE49-F238E27FC236}">
                <a16:creationId xmlns:a16="http://schemas.microsoft.com/office/drawing/2014/main" id="{D5CA8036-EA98-408C-8117-2E9A8362536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967288" y="2160589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F2F27AF-52D8-4AF1-81C6-E589D3868C21}" type="datetime'''''''''12''''0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lang="en-US" sz="1400" dirty="0">
              <a:cs typeface="+mn-cs"/>
            </a:endParaRPr>
          </a:p>
        </p:txBody>
      </p:sp>
      <p:sp>
        <p:nvSpPr>
          <p:cNvPr id="166" name="Text Placeholder 13">
            <a:extLst>
              <a:ext uri="{FF2B5EF4-FFF2-40B4-BE49-F238E27FC236}">
                <a16:creationId xmlns:a16="http://schemas.microsoft.com/office/drawing/2014/main" id="{77D09647-2E08-4DAB-9EB8-FA67FA6057A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065713" y="4165600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FDDB3C-429A-4A58-8313-B7850C91D05B}" type="datetime'''''''''''''''6''''''''''0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cs typeface="+mn-cs"/>
            </a:endParaRPr>
          </a:p>
        </p:txBody>
      </p:sp>
      <p:sp>
        <p:nvSpPr>
          <p:cNvPr id="165" name="Text Placeholder 13">
            <a:extLst>
              <a:ext uri="{FF2B5EF4-FFF2-40B4-BE49-F238E27FC236}">
                <a16:creationId xmlns:a16="http://schemas.microsoft.com/office/drawing/2014/main" id="{201357D4-EE91-4DCA-986F-3ECEA509B21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065713" y="45005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542A1EC-BD4E-422E-8CE1-F93E9D138A55}" type="datetime'''''''''''5''''''''''''''''''''''''''''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400" dirty="0">
              <a:cs typeface="+mn-cs"/>
            </a:endParaRPr>
          </a:p>
        </p:txBody>
      </p:sp>
      <p:sp>
        <p:nvSpPr>
          <p:cNvPr id="167" name="Text Placeholder 13">
            <a:extLst>
              <a:ext uri="{FF2B5EF4-FFF2-40B4-BE49-F238E27FC236}">
                <a16:creationId xmlns:a16="http://schemas.microsoft.com/office/drawing/2014/main" id="{5DB63E2D-6842-4461-8947-BE40F6A2042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5065713" y="3832225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6EB535-35EC-4478-ABF0-6CB13841B2B4}" type="datetime'''''''''''''''''''''''''''7''0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400" dirty="0">
              <a:cs typeface="+mn-cs"/>
            </a:endParaRPr>
          </a:p>
        </p:txBody>
      </p:sp>
      <p:sp>
        <p:nvSpPr>
          <p:cNvPr id="168" name="Text Placeholder 13">
            <a:extLst>
              <a:ext uri="{FF2B5EF4-FFF2-40B4-BE49-F238E27FC236}">
                <a16:creationId xmlns:a16="http://schemas.microsoft.com/office/drawing/2014/main" id="{1FEE115F-D714-493E-9A98-A7B62093D71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065713" y="34972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BDB64D4-4D35-43EA-905B-DF7BB6DB072A}" type="datetime'''''''''''''''''''''8''''''''''''''''''''''''''0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cs typeface="+mn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8365BA-11A5-4FE4-958C-09BB0CF28C8B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7845425" y="2770188"/>
            <a:ext cx="0" cy="19367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03D685C8-2103-495E-B765-DF3B7C7A8592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1504613" y="3463925"/>
            <a:ext cx="398462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108053BD-9971-4A84-99AC-7E63BBDAA1F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1056938" y="2960688"/>
            <a:ext cx="84613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8" name="Straight Connector 227">
            <a:extLst>
              <a:ext uri="{FF2B5EF4-FFF2-40B4-BE49-F238E27FC236}">
                <a16:creationId xmlns:a16="http://schemas.microsoft.com/office/drawing/2014/main" id="{3320B6F8-DF0A-4549-9A69-71C569EF1526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auto">
          <a:xfrm flipV="1">
            <a:off x="6240463" y="2828925"/>
            <a:ext cx="0" cy="1349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2848AC01-0894-432C-B3F9-4D7C565DA742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11860213" y="2957513"/>
            <a:ext cx="0" cy="5095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4" name="Straight Connector 243">
            <a:extLst>
              <a:ext uri="{FF2B5EF4-FFF2-40B4-BE49-F238E27FC236}">
                <a16:creationId xmlns:a16="http://schemas.microsoft.com/office/drawing/2014/main" id="{4D8AD4CA-3D9B-4270-8A83-4767B8071A71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V="1">
            <a:off x="8648700" y="2441575"/>
            <a:ext cx="0" cy="5222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5CAF4B9-93DD-4B3F-BE37-183457524778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7802563" y="2960688"/>
            <a:ext cx="444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D2A8A7C-1AD6-4290-B06C-4E9535D8D7E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H="1">
            <a:off x="8605838" y="2444750"/>
            <a:ext cx="4000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FEB8861-31C4-41F3-B629-D4F46B282DE1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H="1">
            <a:off x="8605838" y="2960688"/>
            <a:ext cx="846137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A846FC3-351B-457C-BA80-E09BCDBB47D0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6278563" y="2601913"/>
            <a:ext cx="149225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6D07F07-0CE2-4331-B02B-712FA1DDF6F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H="1">
            <a:off x="7885113" y="2601913"/>
            <a:ext cx="149225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BAF23CD-117D-4486-85EB-D4DF2183B57B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H="1">
            <a:off x="9490075" y="2601913"/>
            <a:ext cx="149225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4A56E35-F98A-4636-906A-09147AF96B99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 flipH="1">
            <a:off x="11095038" y="2601913"/>
            <a:ext cx="149225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8" name="Text Placeholder 13">
            <a:extLst>
              <a:ext uri="{FF2B5EF4-FFF2-40B4-BE49-F238E27FC236}">
                <a16:creationId xmlns:a16="http://schemas.microsoft.com/office/drawing/2014/main" id="{A1C6D25F-959C-4A0D-9048-5CE36A15BEB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6116638" y="35956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7D12E9C-ADC6-4AF4-8759-53ADC13F2D79}" type="datetime'''''''''''1''''''''''''''''''''''''''''''''''0'''''''''''">
              <a:rPr lang="en-US" altLang="en-US" sz="1400" smtClean="0">
                <a:cs typeface="+mn-cs"/>
              </a:rPr>
              <a:pPr/>
              <a:t>10</a:t>
            </a:fld>
            <a:endParaRPr lang="en-US" sz="1400" dirty="0">
              <a:cs typeface="+mn-cs"/>
            </a:endParaRPr>
          </a:p>
        </p:txBody>
      </p:sp>
      <p:sp>
        <p:nvSpPr>
          <p:cNvPr id="127" name="Text Placeholder 13">
            <a:extLst>
              <a:ext uri="{FF2B5EF4-FFF2-40B4-BE49-F238E27FC236}">
                <a16:creationId xmlns:a16="http://schemas.microsoft.com/office/drawing/2014/main" id="{16DB265B-D608-45AD-9ADF-007290F14D0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116638" y="45878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149E48-FB1A-469E-8DAC-4AF2BB1EFB1C}" type="datetime'''4''''''9'''''''''''''''''''''''''''''''''''''">
              <a:rPr lang="en-US" altLang="en-US" sz="1400" smtClean="0">
                <a:cs typeface="+mn-cs"/>
              </a:rPr>
              <a:pPr/>
              <a:t>49</a:t>
            </a:fld>
            <a:endParaRPr lang="en-US" sz="1400" dirty="0">
              <a:cs typeface="+mn-cs"/>
            </a:endParaRPr>
          </a:p>
        </p:txBody>
      </p:sp>
      <p:sp>
        <p:nvSpPr>
          <p:cNvPr id="55" name="Text Placeholder 13">
            <a:extLst>
              <a:ext uri="{FF2B5EF4-FFF2-40B4-BE49-F238E27FC236}">
                <a16:creationId xmlns:a16="http://schemas.microsoft.com/office/drawing/2014/main" id="{337C2030-E137-4D49-AC88-94ECC97BE4D1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6116638" y="57880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DF4083-3265-4DF0-AC39-7ED2B31756FF}" type="datetime'''''''''''''''''2''''''3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1" name="Text Placeholder 13">
            <a:extLst>
              <a:ext uri="{FF2B5EF4-FFF2-40B4-BE49-F238E27FC236}">
                <a16:creationId xmlns:a16="http://schemas.microsoft.com/office/drawing/2014/main" id="{BB1F3617-0473-4F69-8987-E1AC7F797C0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037263" y="6335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1AA9AC-2E3B-442F-9B6F-AD02F08D79BC}" type="datetime'''''''''''''''''''''''2''''''''0''1''''''''''''''''''9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US" sz="1400" dirty="0">
              <a:cs typeface="+mn-cs"/>
            </a:endParaRPr>
          </a:p>
        </p:txBody>
      </p:sp>
      <p:sp>
        <p:nvSpPr>
          <p:cNvPr id="209" name="Text Placeholder 13">
            <a:extLst>
              <a:ext uri="{FF2B5EF4-FFF2-40B4-BE49-F238E27FC236}">
                <a16:creationId xmlns:a16="http://schemas.microsoft.com/office/drawing/2014/main" id="{4E655524-64CE-4E8E-BFD7-7FEEDC417AAD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981950" y="2338388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E951EF8-29ED-436B-B31F-CBCA2CC200EA}" type="datetime'''''''''''''''''''''''''''''''9''''''''''''''''''''''9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9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83" name="Text Placeholder 13">
            <a:extLst>
              <a:ext uri="{FF2B5EF4-FFF2-40B4-BE49-F238E27FC236}">
                <a16:creationId xmlns:a16="http://schemas.microsoft.com/office/drawing/2014/main" id="{4FA39C14-B492-41E2-A0F6-F03BA9018B1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0933113" y="37607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CD9818-F82F-449D-9F36-E69C24A28769}" type="datetime'''''''''''''1''''''''''''''''7'''''''''''''''''''''''''''">
              <a:rPr lang="en-US" altLang="en-US" sz="1400" smtClean="0">
                <a:cs typeface="+mn-cs"/>
              </a:rPr>
              <a:pPr/>
              <a:t>17</a:t>
            </a:fld>
            <a:endParaRPr lang="en-US" sz="1400" dirty="0">
              <a:cs typeface="+mn-cs"/>
            </a:endParaRPr>
          </a:p>
        </p:txBody>
      </p:sp>
      <p:sp>
        <p:nvSpPr>
          <p:cNvPr id="121" name="Text Placeholder 13">
            <a:extLst>
              <a:ext uri="{FF2B5EF4-FFF2-40B4-BE49-F238E27FC236}">
                <a16:creationId xmlns:a16="http://schemas.microsoft.com/office/drawing/2014/main" id="{6D3DB4A4-E5CC-4DD9-BBE5-BE83D6511A77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0853738" y="6335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48AECC-5806-4399-BA5A-73BC50A485DB}" type="datetime'2''''''''''''''0''''''''''2''''''''''''''''''''''''''''''2'''">
              <a:rPr lang="en-US" altLang="en-US" sz="1400" smtClean="0">
                <a:cs typeface="+mn-cs"/>
              </a:rPr>
              <a:pPr/>
              <a:t>2022</a:t>
            </a:fld>
            <a:endParaRPr lang="en-US" sz="1400" dirty="0">
              <a:cs typeface="+mn-cs"/>
            </a:endParaRPr>
          </a:p>
        </p:txBody>
      </p:sp>
      <p:sp>
        <p:nvSpPr>
          <p:cNvPr id="180" name="Text Placeholder 13">
            <a:extLst>
              <a:ext uri="{FF2B5EF4-FFF2-40B4-BE49-F238E27FC236}">
                <a16:creationId xmlns:a16="http://schemas.microsoft.com/office/drawing/2014/main" id="{81203EA2-89AF-4FC5-B4E3-9FF202CB75A1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7770814" y="2716213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EA6D0E-2092-4EC9-9BB1-1489DF232AE2}" type="datetime'3''''''''''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79" name="Text Placeholder 13">
            <a:extLst>
              <a:ext uri="{FF2B5EF4-FFF2-40B4-BE49-F238E27FC236}">
                <a16:creationId xmlns:a16="http://schemas.microsoft.com/office/drawing/2014/main" id="{89AF2B13-CC54-4C9B-928C-DE0EA9455D0E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721600" y="30670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52AAA0-FD9A-439B-9176-6C8774A67FC2}" type="datetime'''''''1''''''''''''''''''''''''''''8'''''''''''''">
              <a:rPr lang="en-US" altLang="en-US" sz="1400" smtClean="0">
                <a:cs typeface="+mn-cs"/>
              </a:rPr>
              <a:pPr/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159" name="Text Placeholder 13">
            <a:extLst>
              <a:ext uri="{FF2B5EF4-FFF2-40B4-BE49-F238E27FC236}">
                <a16:creationId xmlns:a16="http://schemas.microsoft.com/office/drawing/2014/main" id="{8BB7C371-CE8A-4F3C-9EAE-6D6E1F06B70D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721600" y="36401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1D6E1D-D229-4EE3-A2F1-6DEF756EB665}" type="datetime'''''''1''''''''''''''''''''6'''''''''''''''''''''''''''''''''">
              <a:rPr lang="en-US" altLang="en-US" sz="1400" smtClean="0">
                <a:cs typeface="+mn-cs"/>
              </a:rPr>
              <a:pPr/>
              <a:t>16</a:t>
            </a:fld>
            <a:endParaRPr lang="en-US" sz="1400" dirty="0">
              <a:cs typeface="+mn-cs"/>
            </a:endParaRPr>
          </a:p>
        </p:txBody>
      </p:sp>
      <p:sp>
        <p:nvSpPr>
          <p:cNvPr id="129" name="Text Placeholder 13">
            <a:extLst>
              <a:ext uri="{FF2B5EF4-FFF2-40B4-BE49-F238E27FC236}">
                <a16:creationId xmlns:a16="http://schemas.microsoft.com/office/drawing/2014/main" id="{91E5B3E3-91E4-4F3A-9F54-C4C1745B554F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721600" y="47117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7CA080-C59A-4EEC-80E2-ABC8B58AE98B}" type="datetime'4''''''''''8'''''''''''''''''''''''">
              <a:rPr lang="en-US" altLang="en-US" sz="1400" smtClean="0">
                <a:cs typeface="+mn-cs"/>
              </a:rPr>
              <a:pPr/>
              <a:t>48</a:t>
            </a:fld>
            <a:endParaRPr lang="en-US" sz="1400" dirty="0">
              <a:cs typeface="+mn-cs"/>
            </a:endParaRPr>
          </a:p>
        </p:txBody>
      </p:sp>
      <p:sp>
        <p:nvSpPr>
          <p:cNvPr id="56" name="Text Placeholder 13">
            <a:extLst>
              <a:ext uri="{FF2B5EF4-FFF2-40B4-BE49-F238E27FC236}">
                <a16:creationId xmlns:a16="http://schemas.microsoft.com/office/drawing/2014/main" id="{E4A921C6-EDC9-4686-9126-E0E4CAE01D4E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721600" y="58404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88DDDB-A122-44CA-A987-3124C69CCF48}" type="datetime'''''''2''''''''''''''''0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12" name="Text Placeholder 13">
            <a:extLst>
              <a:ext uri="{FF2B5EF4-FFF2-40B4-BE49-F238E27FC236}">
                <a16:creationId xmlns:a16="http://schemas.microsoft.com/office/drawing/2014/main" id="{C4F88116-E742-47D5-AF7E-5652094E076F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642225" y="6335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786EE9-2559-4160-9ACF-52002AE494A2}" type="datetime'''''''''''''''''''''20''''''''''''''''20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US" sz="1400" dirty="0">
              <a:cs typeface="+mn-cs"/>
            </a:endParaRPr>
          </a:p>
        </p:txBody>
      </p:sp>
      <p:sp>
        <p:nvSpPr>
          <p:cNvPr id="210" name="Text Placeholder 13">
            <a:extLst>
              <a:ext uri="{FF2B5EF4-FFF2-40B4-BE49-F238E27FC236}">
                <a16:creationId xmlns:a16="http://schemas.microsoft.com/office/drawing/2014/main" id="{7B84093A-73DC-4CE9-81DF-BD984478A62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9586913" y="2338388"/>
            <a:ext cx="244475" cy="263525"/>
          </a:xfrm>
          <a:prstGeom prst="rect">
            <a:avLst/>
          </a:prstGeom>
          <a:solidFill>
            <a:srgbClr val="FFC90D"/>
          </a:solidFill>
          <a:ln>
            <a:noFill/>
          </a:ln>
          <a:effectLst/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28BB35D-8C10-4572-AB00-2DFC30A296C9}" type="datetime'99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9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31" name="Text Placeholder 13">
            <a:extLst>
              <a:ext uri="{FF2B5EF4-FFF2-40B4-BE49-F238E27FC236}">
                <a16:creationId xmlns:a16="http://schemas.microsoft.com/office/drawing/2014/main" id="{CC98032C-58CA-4D50-B337-BF9EED722A82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9328150" y="46497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95CCA3-324F-4059-9E9F-A4798DC8B797}" type="datetime'''''''7''''''''''''''0'''''">
              <a:rPr lang="en-US" altLang="en-US" sz="1400" smtClean="0">
                <a:cs typeface="+mn-cs"/>
              </a:rPr>
              <a:pPr/>
              <a:t>70</a:t>
            </a:fld>
            <a:endParaRPr lang="en-US" sz="1400" dirty="0">
              <a:cs typeface="+mn-cs"/>
            </a:endParaRPr>
          </a:p>
        </p:txBody>
      </p:sp>
      <p:sp>
        <p:nvSpPr>
          <p:cNvPr id="181" name="Text Placeholder 13">
            <a:extLst>
              <a:ext uri="{FF2B5EF4-FFF2-40B4-BE49-F238E27FC236}">
                <a16:creationId xmlns:a16="http://schemas.microsoft.com/office/drawing/2014/main" id="{BD59AD24-A5E6-4927-A93D-D4AF9FDD43AE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9328150" y="2741613"/>
            <a:ext cx="247650" cy="212725"/>
          </a:xfrm>
          <a:prstGeom prst="rect">
            <a:avLst/>
          </a:prstGeom>
          <a:solidFill>
            <a:srgbClr val="FFC90D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36455E-CC4B-4176-B8D0-CF897A7765D5}" type="datetime'''''''''''''''''1''''''''''''''''''''''''''''''''''''8'''''''">
              <a:rPr lang="en-US" altLang="en-US" sz="1400" smtClean="0">
                <a:cs typeface="+mn-cs"/>
              </a:rPr>
              <a:pPr/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182" name="Text Placeholder 13">
            <a:extLst>
              <a:ext uri="{FF2B5EF4-FFF2-40B4-BE49-F238E27FC236}">
                <a16:creationId xmlns:a16="http://schemas.microsoft.com/office/drawing/2014/main" id="{D2D29370-ADC3-4F38-A8A4-3238C8F98C11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377364" y="2392363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875C35-4C03-47C1-92EA-F7A34550B79F}" type="datetime'''''''''''''''''''''''''''''''3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70" name="Text Placeholder 13">
            <a:extLst>
              <a:ext uri="{FF2B5EF4-FFF2-40B4-BE49-F238E27FC236}">
                <a16:creationId xmlns:a16="http://schemas.microsoft.com/office/drawing/2014/main" id="{C25A58AA-0E8D-4315-B407-04DCC68CCB3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328150" y="32607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EB88A9-623C-4547-8AA9-E2FCC0FD4C20}" type="datetime'''''''''''''''''''''''''''''''''''''''''''''''''13''''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113" name="Text Placeholder 13">
            <a:extLst>
              <a:ext uri="{FF2B5EF4-FFF2-40B4-BE49-F238E27FC236}">
                <a16:creationId xmlns:a16="http://schemas.microsoft.com/office/drawing/2014/main" id="{9A324885-E6F7-4A06-9D6F-255542884568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248775" y="63357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9029FA-FB99-4109-9531-3233155BF983}" type="datetime'''''2''''''''''''''''''''''''''''''''''''''0''2''''1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US" sz="1400" dirty="0">
              <a:cs typeface="+mn-cs"/>
            </a:endParaRPr>
          </a:p>
        </p:txBody>
      </p:sp>
      <p:sp>
        <p:nvSpPr>
          <p:cNvPr id="57" name="Text Placeholder 13">
            <a:extLst>
              <a:ext uri="{FF2B5EF4-FFF2-40B4-BE49-F238E27FC236}">
                <a16:creationId xmlns:a16="http://schemas.microsoft.com/office/drawing/2014/main" id="{112F9581-37C2-4D4A-97AF-5F6EBA2F173F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9334500" y="5992813"/>
            <a:ext cx="2349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F7C829-2F08-4B97-9042-83107C5C17D1}" type="datetime'11''''''''''''''''''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1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84" name="Text Placeholder 13">
            <a:extLst>
              <a:ext uri="{FF2B5EF4-FFF2-40B4-BE49-F238E27FC236}">
                <a16:creationId xmlns:a16="http://schemas.microsoft.com/office/drawing/2014/main" id="{6CD88AB4-4369-4F2E-8DE0-D442BAD3EC6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0982326" y="3417888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525267B-65A5-4E42-9145-3E73EA78C7D0}" type="datetime'''''''''''''''''4''''''''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4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71" name="Text Placeholder 13">
            <a:extLst>
              <a:ext uri="{FF2B5EF4-FFF2-40B4-BE49-F238E27FC236}">
                <a16:creationId xmlns:a16="http://schemas.microsoft.com/office/drawing/2014/main" id="{7A6D208D-6C49-4545-A6BE-F07BABBB2BE2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10933113" y="425132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685CD4-EB29-4110-84D7-8F7F0B88AFAA}" type="datetime'''''''''''''''''''''''''1''''''''''2'''''''''''''''">
              <a:rPr lang="en-US" altLang="en-US" sz="1400" smtClean="0">
                <a:cs typeface="+mn-cs"/>
              </a:rPr>
              <a:pPr/>
              <a:t>12</a:t>
            </a:fld>
            <a:endParaRPr lang="en-US" sz="1400" dirty="0">
              <a:cs typeface="+mn-cs"/>
            </a:endParaRPr>
          </a:p>
        </p:txBody>
      </p:sp>
      <p:sp>
        <p:nvSpPr>
          <p:cNvPr id="133" name="Text Placeholder 13">
            <a:extLst>
              <a:ext uri="{FF2B5EF4-FFF2-40B4-BE49-F238E27FC236}">
                <a16:creationId xmlns:a16="http://schemas.microsoft.com/office/drawing/2014/main" id="{01DC34BA-03C5-4AC8-BCFD-B04DB32A9F63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10933113" y="50244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0375023-27E2-4B46-BF32-D4536308AF24}" type="datetime'''''''''''''''''''''''''''''''''''''''34'''''">
              <a:rPr lang="en-US" altLang="en-US" sz="1400" smtClean="0">
                <a:cs typeface="+mn-cs"/>
              </a:rPr>
              <a:pPr/>
              <a:t>34</a:t>
            </a:fld>
            <a:endParaRPr lang="en-US" sz="1400" dirty="0">
              <a:cs typeface="+mn-cs"/>
            </a:endParaRPr>
          </a:p>
        </p:txBody>
      </p:sp>
      <p:sp>
        <p:nvSpPr>
          <p:cNvPr id="58" name="Text Placeholder 13">
            <a:extLst>
              <a:ext uri="{FF2B5EF4-FFF2-40B4-BE49-F238E27FC236}">
                <a16:creationId xmlns:a16="http://schemas.microsoft.com/office/drawing/2014/main" id="{723588FE-E217-4A58-8D7C-43FC378B9BE1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0933113" y="58785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3036F2F-9E19-487B-85A7-D8BA9396D4B0}" type="datetime'''''''''''''''''''''''''''1''''''''''''''''''''''7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7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11" name="Text Placeholder 13">
            <a:extLst>
              <a:ext uri="{FF2B5EF4-FFF2-40B4-BE49-F238E27FC236}">
                <a16:creationId xmlns:a16="http://schemas.microsoft.com/office/drawing/2014/main" id="{C67D7913-FC71-4874-81E2-92100D1D6A5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1191875" y="2338388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02F5896-B90C-46BC-9665-5B034AC16867}" type="datetime'''''''''''''''''''''''''''''9''''''''''''9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9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78" name="Text Placeholder 13">
            <a:extLst>
              <a:ext uri="{FF2B5EF4-FFF2-40B4-BE49-F238E27FC236}">
                <a16:creationId xmlns:a16="http://schemas.microsoft.com/office/drawing/2014/main" id="{415F6CEC-B72B-47C6-A29A-A5796730F63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6165851" y="2770188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E6F14C-A8AE-4F7A-B0F2-B32976F9F271}" type="datetime'''''''''''''''''''''''''''''3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23" name="Text Placeholder 13">
            <a:extLst>
              <a:ext uri="{FF2B5EF4-FFF2-40B4-BE49-F238E27FC236}">
                <a16:creationId xmlns:a16="http://schemas.microsoft.com/office/drawing/2014/main" id="{9ED983DC-8908-4744-B484-C2E6E5B5165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0925175" y="317341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0D3D55-CAA8-4D22-81F3-4DD0714CD581}" type="datetime'''''''''''''''''''''8''''4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84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08" name="Text Placeholder 13">
            <a:extLst>
              <a:ext uri="{FF2B5EF4-FFF2-40B4-BE49-F238E27FC236}">
                <a16:creationId xmlns:a16="http://schemas.microsoft.com/office/drawing/2014/main" id="{5F792C94-D33D-4EC7-9799-8BEA660E0D13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6375400" y="2338388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9C4E56-4C5E-42C0-A979-FDBD95B99275}" type="datetime'''''''''''''''''''''''''''''''''''''''''''''''''''99'''''''''">
              <a:rPr lang="en-US" altLang="en-US" b="1" smtClean="0">
                <a:solidFill>
                  <a:srgbClr val="C30C3E"/>
                </a:solidFill>
                <a:effectLst/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9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77" name="Text Placeholder 13">
            <a:extLst>
              <a:ext uri="{FF2B5EF4-FFF2-40B4-BE49-F238E27FC236}">
                <a16:creationId xmlns:a16="http://schemas.microsoft.com/office/drawing/2014/main" id="{4951D756-2845-46D1-9EDD-768B3BDADF30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6116638" y="31178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A1258E-038E-4C5E-A6A1-8A441F45A282}" type="datetime'''''''''''''''''''''''''1''''''''''''''8'">
              <a:rPr lang="en-US" altLang="en-US" sz="1400" smtClean="0">
                <a:cs typeface="+mn-cs"/>
              </a:rPr>
              <a:pPr/>
              <a:t>18</a:t>
            </a:fld>
            <a:endParaRPr lang="en-US" sz="1400" dirty="0">
              <a:cs typeface="+mn-cs"/>
            </a:endParaRPr>
          </a:p>
        </p:txBody>
      </p:sp>
      <p:sp>
        <p:nvSpPr>
          <p:cNvPr id="114" name="Text Placeholder 13">
            <a:extLst>
              <a:ext uri="{FF2B5EF4-FFF2-40B4-BE49-F238E27FC236}">
                <a16:creationId xmlns:a16="http://schemas.microsoft.com/office/drawing/2014/main" id="{A3030FAB-7717-4FB4-8E8B-4F56AD1E854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5989638" y="2503488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206A8A-68D9-470E-A811-68CA29EF1827}" type="datetime'''1''''0''''''''''''3''''''''''''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0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5" name="Text Placeholder 13">
            <a:extLst>
              <a:ext uri="{FF2B5EF4-FFF2-40B4-BE49-F238E27FC236}">
                <a16:creationId xmlns:a16="http://schemas.microsoft.com/office/drawing/2014/main" id="{731A5473-8F01-43FA-8E24-D360256EA2DC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7616825" y="2460625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BAC427-6871-489C-9B80-92A3855665A6}" type="datetime'''''''''''''''''''''''''''''''''10''''''''''''''''''''''5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0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6" name="Text Placeholder 13">
            <a:extLst>
              <a:ext uri="{FF2B5EF4-FFF2-40B4-BE49-F238E27FC236}">
                <a16:creationId xmlns:a16="http://schemas.microsoft.com/office/drawing/2014/main" id="{27E6A20D-D841-4549-9760-6CD288CDB67E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9223375" y="2147888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9C1EF72-0CB8-452E-A923-ADEA13A82BAD}" type="datetime'''''''''1''''''1''''''''''''''''''''''''5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1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24" name="Text Placeholder 13">
            <a:extLst>
              <a:ext uri="{FF2B5EF4-FFF2-40B4-BE49-F238E27FC236}">
                <a16:creationId xmlns:a16="http://schemas.microsoft.com/office/drawing/2014/main" id="{AD6242FD-03F0-4407-B37D-64C588A978A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5638800" y="2747963"/>
            <a:ext cx="5111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9026B9E-66EB-4CA9-AEE7-865A66F28D84}" type="datetime'''''''''+''4''''''''''''''''''''''''''%'''''''''''''''''''''''">
              <a:rPr lang="en-US" altLang="en-US" sz="1400" b="1" smtClean="0">
                <a:effectLst/>
                <a:cs typeface="+mn-cs"/>
              </a:rPr>
              <a:pPr/>
              <a:t>+4%</a:t>
            </a:fld>
            <a:endParaRPr lang="en-US" sz="1400" b="1" dirty="0">
              <a:cs typeface="+mn-cs"/>
            </a:endParaRPr>
          </a:p>
        </p:txBody>
      </p:sp>
      <p:sp>
        <p:nvSpPr>
          <p:cNvPr id="241" name="Text Placeholder 13">
            <a:extLst>
              <a:ext uri="{FF2B5EF4-FFF2-40B4-BE49-F238E27FC236}">
                <a16:creationId xmlns:a16="http://schemas.microsoft.com/office/drawing/2014/main" id="{64BAEAE2-C3A9-4757-9A3E-A0CC9DBC7492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739188" y="2954338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A8125E-F30B-4A83-B48E-6BC8EE0D27F6}" type="datetime'''''''''''''+''''''''''''''''''16''''''''''''''''%'''''''''">
              <a:rPr lang="en-US" altLang="en-US" sz="1400" b="1" smtClean="0">
                <a:effectLst/>
                <a:cs typeface="+mn-cs"/>
              </a:rPr>
              <a:pPr/>
              <a:t>+16%</a:t>
            </a:fld>
            <a:endParaRPr lang="en-US" sz="1400" b="1" dirty="0">
              <a:cs typeface="+mn-cs"/>
            </a:endParaRPr>
          </a:p>
        </p:txBody>
      </p:sp>
      <p:sp>
        <p:nvSpPr>
          <p:cNvPr id="249" name="Text Placeholder 13">
            <a:extLst>
              <a:ext uri="{FF2B5EF4-FFF2-40B4-BE49-F238E27FC236}">
                <a16:creationId xmlns:a16="http://schemas.microsoft.com/office/drawing/2014/main" id="{EB7B4B11-8062-45A3-A28B-D2F53C045A29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11566525" y="3017838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56077F-5CBA-4FE7-A959-14C4CB8E827F}" type="datetime'''''-15''''''''''''''''''''''''''''''''''''%'''''''''''''">
              <a:rPr lang="en-US" altLang="en-US" sz="1400" b="1" smtClean="0">
                <a:effectLst/>
                <a:cs typeface="+mn-cs"/>
              </a:rPr>
              <a:pPr/>
              <a:t>-15%</a:t>
            </a:fld>
            <a:endParaRPr lang="en-US" sz="1400" b="1" dirty="0">
              <a:cs typeface="+mn-cs"/>
            </a:endParaRPr>
          </a:p>
        </p:txBody>
      </p:sp>
      <p:sp>
        <p:nvSpPr>
          <p:cNvPr id="233" name="Text Placeholder 13">
            <a:extLst>
              <a:ext uri="{FF2B5EF4-FFF2-40B4-BE49-F238E27FC236}">
                <a16:creationId xmlns:a16="http://schemas.microsoft.com/office/drawing/2014/main" id="{9624C612-9F96-4BDB-9734-8E7D18DD2B67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7243763" y="2716213"/>
            <a:ext cx="5111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84CD2B-0FFD-49AC-8844-ED7765A9CDA7}" type="datetime'''''''''''+6''''''''''''''%'''''''''''''">
              <a:rPr lang="en-US" altLang="en-US" sz="1400" b="1" smtClean="0">
                <a:effectLst/>
                <a:cs typeface="+mn-cs"/>
              </a:rPr>
              <a:pPr/>
              <a:t>+6%</a:t>
            </a:fld>
            <a:endParaRPr lang="en-US" sz="1400" b="1" dirty="0">
              <a:cs typeface="+mn-cs"/>
            </a:endParaRPr>
          </a:p>
        </p:txBody>
      </p: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0F15BBCA-D772-4CDA-BAE8-D74EF4BC4680}"/>
              </a:ext>
            </a:extLst>
          </p:cNvPr>
          <p:cNvCxnSpPr/>
          <p:nvPr>
            <p:custDataLst>
              <p:tags r:id="rId66"/>
            </p:custDataLst>
          </p:nvPr>
        </p:nvCxnSpPr>
        <p:spPr bwMode="gray">
          <a:xfrm>
            <a:off x="11206163" y="1751013"/>
            <a:ext cx="1588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A072DE-6F89-4021-AEB2-AC1976809072}"/>
              </a:ext>
            </a:extLst>
          </p:cNvPr>
          <p:cNvCxnSpPr/>
          <p:nvPr>
            <p:custDataLst>
              <p:tags r:id="rId67"/>
            </p:custDataLst>
          </p:nvPr>
        </p:nvCxnSpPr>
        <p:spPr bwMode="gray">
          <a:xfrm>
            <a:off x="10993438" y="1751013"/>
            <a:ext cx="1588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32B119A5-F1B5-4DDA-9521-4BEFA1F38EF1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1055350" y="1706563"/>
            <a:ext cx="88900" cy="889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Text Placeholder 13">
            <a:extLst>
              <a:ext uri="{FF2B5EF4-FFF2-40B4-BE49-F238E27FC236}">
                <a16:creationId xmlns:a16="http://schemas.microsoft.com/office/drawing/2014/main" id="{F33ED877-2A6E-4E05-8F29-49713FC48221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11325225" y="1652588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50B0300-9951-436C-8369-02A9C2514572}" type="datetime'''''''''''''''''''''''''''''C''ou''''''''''t''s'''''''''''''">
              <a:rPr lang="en-US" altLang="en-US" sz="1400" smtClean="0">
                <a:cs typeface="+mn-cs"/>
              </a:rPr>
              <a:pPr/>
              <a:t>Couts</a:t>
            </a:fld>
            <a:endParaRPr lang="en-US" sz="1400" dirty="0">
              <a:cs typeface="+mn-cs"/>
            </a:endParaRPr>
          </a:p>
        </p:txBody>
      </p:sp>
      <p:sp>
        <p:nvSpPr>
          <p:cNvPr id="270" name="TextBox 269">
            <a:extLst>
              <a:ext uri="{FF2B5EF4-FFF2-40B4-BE49-F238E27FC236}">
                <a16:creationId xmlns:a16="http://schemas.microsoft.com/office/drawing/2014/main" id="{8C4AA6E8-C602-462A-803E-237E91EEB16A}"/>
              </a:ext>
            </a:extLst>
          </p:cNvPr>
          <p:cNvSpPr txBox="1">
            <a:spLocks noChangeAspect="1"/>
          </p:cNvSpPr>
          <p:nvPr/>
        </p:nvSpPr>
        <p:spPr>
          <a:xfrm>
            <a:off x="560611" y="4792662"/>
            <a:ext cx="4117752" cy="168881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Ins="182880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Gap prévu de 8% couver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Excédent de financement 2019-2021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Gap de 15% en 2022</a:t>
            </a:r>
          </a:p>
        </p:txBody>
      </p:sp>
      <p:sp>
        <p:nvSpPr>
          <p:cNvPr id="59" name="Title 2">
            <a:extLst>
              <a:ext uri="{FF2B5EF4-FFF2-40B4-BE49-F238E27FC236}">
                <a16:creationId xmlns:a16="http://schemas.microsoft.com/office/drawing/2014/main" id="{2196D9EC-EF5C-4C40-9F92-82159F5301D0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 des gaps de financement du DI SRMNIA-N par source de financement et par année (2019-2022)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97D2C73B-099B-4403-827D-2E24CEE4297F}"/>
              </a:ext>
            </a:extLst>
          </p:cNvPr>
          <p:cNvSpPr txBox="1"/>
          <p:nvPr/>
        </p:nvSpPr>
        <p:spPr>
          <a:xfrm>
            <a:off x="6051233" y="1265893"/>
            <a:ext cx="42412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alyse des gaps de financement du DI SRMNIA-N par source de financement et par année (2019-2022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07" name="TextBox 106">
            <a:extLst>
              <a:ext uri="{FF2B5EF4-FFF2-40B4-BE49-F238E27FC236}">
                <a16:creationId xmlns:a16="http://schemas.microsoft.com/office/drawing/2014/main" id="{2070B802-C339-4264-B1E3-7D6F395B4043}"/>
              </a:ext>
            </a:extLst>
          </p:cNvPr>
          <p:cNvSpPr txBox="1"/>
          <p:nvPr/>
        </p:nvSpPr>
        <p:spPr>
          <a:xfrm>
            <a:off x="4660871" y="2021688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  <p:graphicFrame>
        <p:nvGraphicFramePr>
          <p:cNvPr id="94" name="Chart 93">
            <a:extLst>
              <a:ext uri="{FF2B5EF4-FFF2-40B4-BE49-F238E27FC236}">
                <a16:creationId xmlns:a16="http://schemas.microsoft.com/office/drawing/2014/main" id="{7BB8ADE9-2A98-4C62-A794-C46865E1BAB6}"/>
              </a:ext>
            </a:extLst>
          </p:cNvPr>
          <p:cNvGraphicFramePr/>
          <p:nvPr>
            <p:custDataLst>
              <p:tags r:id="rId70"/>
            </p:custDataLst>
            <p:extLst>
              <p:ext uri="{D42A27DB-BD31-4B8C-83A1-F6EECF244321}">
                <p14:modId xmlns:p14="http://schemas.microsoft.com/office/powerpoint/2010/main" val="237541337"/>
              </p:ext>
            </p:extLst>
          </p:nvPr>
        </p:nvGraphicFramePr>
        <p:xfrm>
          <a:off x="1397000" y="1706563"/>
          <a:ext cx="3246438" cy="2679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sp>
        <p:nvSpPr>
          <p:cNvPr id="73" name="Text Placeholder 13">
            <a:extLst>
              <a:ext uri="{FF2B5EF4-FFF2-40B4-BE49-F238E27FC236}">
                <a16:creationId xmlns:a16="http://schemas.microsoft.com/office/drawing/2014/main" id="{66FBDF28-978F-4F3B-A69F-08F1F56042E5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765300" y="4430713"/>
            <a:ext cx="969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C0695E-3709-44D1-B8A8-AFFD759762C3}" type="datetime'''''''''''Pré''''v''i''''sio''n ''''''''''''''''D''''I'''''''">
              <a:rPr lang="en-US" altLang="en-US" sz="1400" smtClean="0">
                <a:cs typeface="+mn-cs"/>
              </a:rPr>
              <a:pPr/>
              <a:t>Prévision DI</a:t>
            </a:fld>
            <a:endParaRPr lang="en-US" sz="1400" dirty="0">
              <a:cs typeface="+mn-cs"/>
            </a:endParaRPr>
          </a:p>
        </p:txBody>
      </p:sp>
      <p:sp>
        <p:nvSpPr>
          <p:cNvPr id="74" name="Text Placeholder 13">
            <a:extLst>
              <a:ext uri="{FF2B5EF4-FFF2-40B4-BE49-F238E27FC236}">
                <a16:creationId xmlns:a16="http://schemas.microsoft.com/office/drawing/2014/main" id="{8983196B-E967-41A8-9BE5-CA7ADE3DBD31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2095500" y="4090988"/>
            <a:ext cx="307975" cy="2127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DEB686A-3FD9-41F3-A4CA-C3C9BFF4982E}" type="datetime'''''''''''8''''''''''''''''''''''%'''''''''''''''''''''">
              <a:rPr lang="en-US" altLang="en-US" sz="1400" smtClean="0">
                <a:effectLst/>
                <a:cs typeface="+mn-cs"/>
              </a:rPr>
              <a:pPr/>
              <a:t>8%</a:t>
            </a:fld>
            <a:endParaRPr lang="en-US" sz="1400" dirty="0">
              <a:cs typeface="+mn-cs"/>
            </a:endParaRPr>
          </a:p>
        </p:txBody>
      </p:sp>
      <p:sp>
        <p:nvSpPr>
          <p:cNvPr id="138" name="Text Placeholder 13">
            <a:extLst>
              <a:ext uri="{FF2B5EF4-FFF2-40B4-BE49-F238E27FC236}">
                <a16:creationId xmlns:a16="http://schemas.microsoft.com/office/drawing/2014/main" id="{02A45790-93E5-42B9-94E8-37C24E6B6622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3635375" y="4159250"/>
            <a:ext cx="30797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5E6E455-4AB9-4CBE-AAAD-001D927ACE5A}" type="datetime'''''''''''''''''3''''''''''''''''''''''''''%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76" name="Text Placeholder 13">
            <a:extLst>
              <a:ext uri="{FF2B5EF4-FFF2-40B4-BE49-F238E27FC236}">
                <a16:creationId xmlns:a16="http://schemas.microsoft.com/office/drawing/2014/main" id="{46F9D46C-8CAA-429D-B434-AF3F1482072D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359150" y="4430713"/>
            <a:ext cx="860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B9A8CC8-BC6E-4409-92C8-A4C47D441A2B}" type="datetime'R''''''''e''''''''''''''''''''''s''''''''o''ur''''''c''es'">
              <a:rPr lang="en-US" altLang="en-US" sz="1400" smtClean="0">
                <a:cs typeface="+mn-cs"/>
              </a:rPr>
              <a:pPr/>
              <a:t>Resources</a:t>
            </a:fld>
            <a:endParaRPr lang="en-US" sz="1400" dirty="0">
              <a:cs typeface="+mn-cs"/>
            </a:endParaRP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1BB043B2-2B06-49D5-B6E2-7DDE0940FD69}"/>
              </a:ext>
            </a:extLst>
          </p:cNvPr>
          <p:cNvSpPr txBox="1"/>
          <p:nvPr/>
        </p:nvSpPr>
        <p:spPr>
          <a:xfrm>
            <a:off x="419643" y="1024593"/>
            <a:ext cx="42412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es prévisions du DI SRMNIA vs. Ressources mobilisés (2019-2022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4FDA134-FBA1-4D5F-AC5F-55DDA45264CA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231775" y="2098675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B0A853E-3FB7-4123-93A1-39EB9EB5E94D}"/>
              </a:ext>
            </a:extLst>
          </p:cNvPr>
          <p:cNvSpPr/>
          <p:nvPr>
            <p:custDataLst>
              <p:tags r:id="rId76"/>
            </p:custDataLst>
          </p:nvPr>
        </p:nvSpPr>
        <p:spPr bwMode="auto">
          <a:xfrm>
            <a:off x="231775" y="2362200"/>
            <a:ext cx="250825" cy="1873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CF0215E-2E5C-4564-98A1-FE5477CD0AFE}"/>
              </a:ext>
            </a:extLst>
          </p:cNvPr>
          <p:cNvSpPr/>
          <p:nvPr>
            <p:custDataLst>
              <p:tags r:id="rId77"/>
            </p:custDataLst>
          </p:nvPr>
        </p:nvSpPr>
        <p:spPr bwMode="auto">
          <a:xfrm>
            <a:off x="231775" y="2889250"/>
            <a:ext cx="250825" cy="187325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17CF25B-CE2F-4DF9-888E-3C638BF6B98E}"/>
              </a:ext>
            </a:extLst>
          </p:cNvPr>
          <p:cNvSpPr/>
          <p:nvPr>
            <p:custDataLst>
              <p:tags r:id="rId78"/>
            </p:custDataLst>
          </p:nvPr>
        </p:nvSpPr>
        <p:spPr bwMode="auto">
          <a:xfrm>
            <a:off x="231775" y="2625725"/>
            <a:ext cx="250825" cy="187325"/>
          </a:xfrm>
          <a:prstGeom prst="rect">
            <a:avLst/>
          </a:prstGeom>
          <a:solidFill>
            <a:srgbClr val="FFC90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BBBC9FD-2E4C-40BF-84DB-58B377EA0374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231775" y="3152775"/>
            <a:ext cx="250825" cy="187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3956FE1-E682-46DE-9611-47BE5D7AA093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231775" y="3416300"/>
            <a:ext cx="250825" cy="187325"/>
          </a:xfrm>
          <a:prstGeom prst="rect">
            <a:avLst/>
          </a:prstGeom>
          <a:pattFill prst="ltDnDiag">
            <a:fgClr>
              <a:schemeClr val="tx1"/>
            </a:fgClr>
            <a:bgClr>
              <a:schemeClr val="bg1"/>
            </a:bgClr>
          </a:patt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Text Placeholder 13">
            <a:extLst>
              <a:ext uri="{FF2B5EF4-FFF2-40B4-BE49-F238E27FC236}">
                <a16:creationId xmlns:a16="http://schemas.microsoft.com/office/drawing/2014/main" id="{CCC9BAD0-E6C5-452E-92BC-2B54A71C15A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33400" y="2884488"/>
            <a:ext cx="236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7CD3A2-34DE-4E2B-A3D2-3AAED2FFA159}" type="datetime'''''''''''''''C''''''''''T''''''''''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CT</a:t>
            </a:fld>
            <a:endParaRPr lang="en-US" sz="1400" dirty="0">
              <a:cs typeface="+mn-cs"/>
            </a:endParaRPr>
          </a:p>
        </p:txBody>
      </p:sp>
      <p:sp>
        <p:nvSpPr>
          <p:cNvPr id="141" name="Text Placeholder 13">
            <a:extLst>
              <a:ext uri="{FF2B5EF4-FFF2-40B4-BE49-F238E27FC236}">
                <a16:creationId xmlns:a16="http://schemas.microsoft.com/office/drawing/2014/main" id="{B462E609-B9D2-49D7-8570-B91243644F56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33400" y="2093913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86BB682-8A96-442B-AAD2-C3C0BE8C142F}" type="datetime'''''''''''''''E''''''''''''''''''t''''''''''a''''t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142" name="Text Placeholder 13">
            <a:extLst>
              <a:ext uri="{FF2B5EF4-FFF2-40B4-BE49-F238E27FC236}">
                <a16:creationId xmlns:a16="http://schemas.microsoft.com/office/drawing/2014/main" id="{91075198-6DF8-43CA-AA16-BCBB34965CE8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33400" y="2357438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FE51A31-D7CB-45A6-A18E-0F132AE37686}" type="datetime'''''''''''''P''''''''''''''T''F''''''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143" name="Text Placeholder 13">
            <a:extLst>
              <a:ext uri="{FF2B5EF4-FFF2-40B4-BE49-F238E27FC236}">
                <a16:creationId xmlns:a16="http://schemas.microsoft.com/office/drawing/2014/main" id="{1092112D-9A1E-4DF4-B25A-5B345A88EA08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533400" y="2620963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EB468B-6F0E-4017-B772-999D4AA5AA95}" type="datetime'M''''é''n''''''a''''''''''g''e''''''''''''''''''''''s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13">
            <a:extLst>
              <a:ext uri="{FF2B5EF4-FFF2-40B4-BE49-F238E27FC236}">
                <a16:creationId xmlns:a16="http://schemas.microsoft.com/office/drawing/2014/main" id="{ED576589-3650-4992-A4EB-74AA42ABEF69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533400" y="3148013"/>
            <a:ext cx="1044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015CB6-DFEC-4E32-9843-F3675EC21DAD}" type="datetime'''''''Secte''u''''r'''''''''''''''''' ''pri''v''é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144" name="Text Placeholder 13">
            <a:extLst>
              <a:ext uri="{FF2B5EF4-FFF2-40B4-BE49-F238E27FC236}">
                <a16:creationId xmlns:a16="http://schemas.microsoft.com/office/drawing/2014/main" id="{F94808EA-5EC5-4ADF-8B66-DF88CA17FA04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533400" y="3411538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E9D17AD-4DE9-43DA-BF23-A97F18E135B6}" type="datetime'G''''a''''p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Gap</a:t>
            </a:fld>
            <a:endParaRPr lang="en-US" sz="1400" dirty="0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6205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6AF3E095-0CEA-44CB-B15C-E486487478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8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90" imgW="416" imgH="416" progId="TCLayout.ActiveDocument.1">
                  <p:embed/>
                </p:oleObj>
              </mc:Choice>
              <mc:Fallback>
                <p:oleObj name="think-cell Slide" r:id="rId9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3" name="Chart 162">
            <a:extLst>
              <a:ext uri="{FF2B5EF4-FFF2-40B4-BE49-F238E27FC236}">
                <a16:creationId xmlns:a16="http://schemas.microsoft.com/office/drawing/2014/main" id="{11B2A12B-41A0-4B3C-BB8A-710905EF24C3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02941511"/>
              </p:ext>
            </p:extLst>
          </p:nvPr>
        </p:nvGraphicFramePr>
        <p:xfrm>
          <a:off x="5653088" y="1600200"/>
          <a:ext cx="5937250" cy="3109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78E0D0E7-7DEA-48FC-B1F7-C91BE10D98A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5461000" y="452120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0B808AA-5946-44AD-B741-60E47293C718}" type="datetime'''''''''''''''''''''''0''''''''''''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A1F31CAA-F0AD-4A0C-82E1-0F4A788F7E77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5264150" y="2884488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1DF0389-F254-434F-80E1-85B1E6D86A5F}" type="datetime'''''10''''''''''''''''''''''''''''''''0'''''''''''''">
              <a:rPr lang="en-US" altLang="en-US" sz="1400" smtClean="0">
                <a:cs typeface="+mn-cs"/>
              </a:rPr>
              <a:pPr/>
              <a:t>100</a:t>
            </a:fld>
            <a:endParaRPr lang="en-US" sz="1400" dirty="0">
              <a:cs typeface="+mn-cs"/>
            </a:endParaRPr>
          </a:p>
        </p:txBody>
      </p:sp>
      <p:sp>
        <p:nvSpPr>
          <p:cNvPr id="125" name="Text Placeholder 13">
            <a:extLst>
              <a:ext uri="{FF2B5EF4-FFF2-40B4-BE49-F238E27FC236}">
                <a16:creationId xmlns:a16="http://schemas.microsoft.com/office/drawing/2014/main" id="{BEB33207-06B0-4CDD-98E6-358A16FECDA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5264150" y="2557464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158C249-D0C5-4A09-B22C-F7C2242EEAFC}" type="datetime'''''1''''2''''''''''''''''''''''''''''0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0</a:t>
            </a:fld>
            <a:endParaRPr lang="en-US" sz="1400" dirty="0">
              <a:cs typeface="+mn-cs"/>
            </a:endParaRPr>
          </a:p>
        </p:txBody>
      </p:sp>
      <p:sp>
        <p:nvSpPr>
          <p:cNvPr id="128" name="Text Placeholder 13">
            <a:extLst>
              <a:ext uri="{FF2B5EF4-FFF2-40B4-BE49-F238E27FC236}">
                <a16:creationId xmlns:a16="http://schemas.microsoft.com/office/drawing/2014/main" id="{7D056C7B-1C15-4F3D-AF82-DED5D6170D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264150" y="1576389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21ABDC-E0F3-49C1-BD6B-51C5706BB783}" type="datetime'''''''1''''''''''''8''''''''''''''''0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0</a:t>
            </a:fld>
            <a:endParaRPr lang="en-US" sz="1400" dirty="0">
              <a:cs typeface="+mn-cs"/>
            </a:endParaRPr>
          </a:p>
        </p:txBody>
      </p:sp>
      <p:sp>
        <p:nvSpPr>
          <p:cNvPr id="127" name="Text Placeholder 13">
            <a:extLst>
              <a:ext uri="{FF2B5EF4-FFF2-40B4-BE49-F238E27FC236}">
                <a16:creationId xmlns:a16="http://schemas.microsoft.com/office/drawing/2014/main" id="{B8710695-668C-47F2-B804-D068C88700B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264150" y="1903414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7D54E5-204A-41B6-B003-22C298BC984E}" type="datetime'''''''''''''''''1''''''''''''''''''6''''''''''''''''''''0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60</a:t>
            </a:fld>
            <a:endParaRPr lang="en-US" sz="1400" dirty="0">
              <a:cs typeface="+mn-cs"/>
            </a:endParaRPr>
          </a:p>
        </p:txBody>
      </p:sp>
      <p:sp>
        <p:nvSpPr>
          <p:cNvPr id="126" name="Text Placeholder 13">
            <a:extLst>
              <a:ext uri="{FF2B5EF4-FFF2-40B4-BE49-F238E27FC236}">
                <a16:creationId xmlns:a16="http://schemas.microsoft.com/office/drawing/2014/main" id="{DB76840D-BCCB-4894-834B-44B5CBB93F9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264150" y="2230439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637065A-B40B-4E14-98B2-02194D81F9FD}" type="datetime'''''''''''''''''''''''''1''''''''''''''''4''''''''''''''0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40</a:t>
            </a:fld>
            <a:endParaRPr lang="en-US" sz="1400" dirty="0">
              <a:cs typeface="+mn-cs"/>
            </a:endParaRPr>
          </a:p>
        </p:txBody>
      </p:sp>
      <p:sp>
        <p:nvSpPr>
          <p:cNvPr id="124" name="Text Placeholder 13">
            <a:extLst>
              <a:ext uri="{FF2B5EF4-FFF2-40B4-BE49-F238E27FC236}">
                <a16:creationId xmlns:a16="http://schemas.microsoft.com/office/drawing/2014/main" id="{7D7FC8F6-316E-496C-889D-3F97C7A00C4D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362575" y="3213101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A55101-4D69-489A-82CB-9632CEA346B4}" type="datetime'''''8''''''''''0''''''''''''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cs typeface="+mn-cs"/>
            </a:endParaRPr>
          </a:p>
        </p:txBody>
      </p:sp>
      <p:sp>
        <p:nvSpPr>
          <p:cNvPr id="122" name="Text Placeholder 13">
            <a:extLst>
              <a:ext uri="{FF2B5EF4-FFF2-40B4-BE49-F238E27FC236}">
                <a16:creationId xmlns:a16="http://schemas.microsoft.com/office/drawing/2014/main" id="{ECD9E49C-5EB8-4B44-AF8D-59D625446E5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362575" y="3540126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930621F-CD56-4DB8-AA2F-D657F6DBFF5E}" type="datetime'''''''''''''60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cs typeface="+mn-cs"/>
            </a:endParaRPr>
          </a:p>
        </p:txBody>
      </p:sp>
      <p:sp>
        <p:nvSpPr>
          <p:cNvPr id="121" name="Text Placeholder 13">
            <a:extLst>
              <a:ext uri="{FF2B5EF4-FFF2-40B4-BE49-F238E27FC236}">
                <a16:creationId xmlns:a16="http://schemas.microsoft.com/office/drawing/2014/main" id="{E2A89250-A43F-4885-8625-E1E7187DCF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362575" y="3867151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8B4D81D-4D48-43EF-A130-E1C1D6805CB3}" type="datetime'''4''''''''''''''''''''''''''''''''''''''''''''''''''''0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120" name="Text Placeholder 13">
            <a:extLst>
              <a:ext uri="{FF2B5EF4-FFF2-40B4-BE49-F238E27FC236}">
                <a16:creationId xmlns:a16="http://schemas.microsoft.com/office/drawing/2014/main" id="{C4B4D48C-4438-433D-B06E-1CD1AE4DAA0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362575" y="4194176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8E2C8F0-0974-4331-B52C-C74E436812DA}" type="datetime'''''''''''''''''''''''''''''2''''''''''0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cs typeface="+mn-cs"/>
            </a:endParaRPr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CB554239-5AEB-4C1D-AE87-4349E7FC8695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auto">
          <a:xfrm>
            <a:off x="7466013" y="1843088"/>
            <a:ext cx="0" cy="4921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5A56CB2C-282B-4DA4-A1BC-3EBCFC4B5DEF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11822113" y="4017963"/>
            <a:ext cx="0" cy="4429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A1D868E-5ED5-4162-8D60-25C2959FB98A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9775825" y="3106737"/>
            <a:ext cx="0" cy="1587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A210C7E-C713-4C20-9F8A-65A9EBF9CA2A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6311900" y="1901824"/>
            <a:ext cx="0" cy="7381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7AEADF3-F031-46AA-8892-BFE8A3CA7F2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11252200" y="4021138"/>
            <a:ext cx="6127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94645E3D-9F2C-4817-895E-3C955D30203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0929938" y="4457700"/>
            <a:ext cx="9350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7D7924E-B5F9-4AC2-9810-7F07BA0F300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8943975" y="4389438"/>
            <a:ext cx="2968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907071D2-42F9-4106-B4EF-D3ED231652DA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621713" y="4594225"/>
            <a:ext cx="6191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BD5D2C5-AB19-498F-9682-CCCEA3E6791F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auto">
          <a:xfrm flipV="1">
            <a:off x="9197975" y="4386263"/>
            <a:ext cx="0" cy="2111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AC95BCA-4CC3-403B-A94A-CC6C53AC046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H="1">
            <a:off x="6351588" y="2276475"/>
            <a:ext cx="158750" cy="287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A3FA79C-05A9-4CE2-8167-709ACB8C0BA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H="1">
            <a:off x="7505700" y="1485900"/>
            <a:ext cx="158750" cy="28733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F88BD03-399F-43C6-987E-6EC32050BCEA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H="1">
            <a:off x="8667750" y="4224338"/>
            <a:ext cx="200025" cy="3016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3B27DB19-0D1F-4D23-942A-3285203ED3F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 flipH="1">
            <a:off x="9818688" y="2744788"/>
            <a:ext cx="177800" cy="293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D4BDF5D-D349-4F87-9B79-4DE3034C5267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 flipH="1">
            <a:off x="10972800" y="4092575"/>
            <a:ext cx="177800" cy="293688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CAED119-CD5D-43A3-A588-07DDBF2BC64A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0587038" y="4495800"/>
            <a:ext cx="98425" cy="31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0B6B0C7E-A436-4F86-9F5B-966F9992993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489700" y="1909763"/>
            <a:ext cx="244475" cy="366713"/>
          </a:xfrm>
          <a:prstGeom prst="rect">
            <a:avLst/>
          </a:prstGeom>
          <a:solidFill>
            <a:srgbClr val="FFC90D"/>
          </a:solidFill>
          <a:ln>
            <a:noFill/>
          </a:ln>
          <a:effectLst/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94F402A-6DBE-4383-A031-2FEF0BA74CAA}" type="datetime'''''''''''''''''1''''''''''2''''''''''''''''2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22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01563C0-DE89-4615-8799-647673A6FA2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9309100" y="4765675"/>
            <a:ext cx="935038" cy="1063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775E6A-6AF6-4138-93F6-F458C4324FEA}" type="datetime'Priorité 4 : ''Renforcer l''es piliers de l’offr''e de SRMNIA'">
              <a:rPr lang="fr-FR" altLang="en-US" sz="1400" smtClean="0">
                <a:cs typeface="+mn-cs"/>
              </a:rPr>
              <a:pPr/>
              <a:t>Priorité 4 : Renforcer les piliers de l’offre de SRMNIA</a:t>
            </a:fld>
            <a:endParaRPr lang="en-US" sz="1400" dirty="0">
              <a:cs typeface="+mn-cs"/>
            </a:endParaRPr>
          </a:p>
        </p:txBody>
      </p:sp>
      <p:sp>
        <p:nvSpPr>
          <p:cNvPr id="83" name="Text Placeholder 13">
            <a:extLst>
              <a:ext uri="{FF2B5EF4-FFF2-40B4-BE49-F238E27FC236}">
                <a16:creationId xmlns:a16="http://schemas.microsoft.com/office/drawing/2014/main" id="{62545E16-9FAF-4978-A812-1C03B53A1E2D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9652000" y="42560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1637E91-3138-4B80-933A-9F3900A3A618}" type="datetime'''''''''''''''''''''''''''''''''''''''''''''3''''2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2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19994661-65DF-4F51-B8A2-AD5A589080AD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953625" y="248126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966E50-7F14-4E4B-9A86-6A37F33A4213}" type="datetime'9''''''''''''''''''''''''''3''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3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84" name="Text Placeholder 13">
            <a:extLst>
              <a:ext uri="{FF2B5EF4-FFF2-40B4-BE49-F238E27FC236}">
                <a16:creationId xmlns:a16="http://schemas.microsoft.com/office/drawing/2014/main" id="{A95CF30D-C811-42FB-A6C1-E659023DD660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10339388" y="438943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9EDBC20-D823-4A0B-91C2-36C2B9BFFF59}" type="datetime'''''''''''''''''1''''''''''''''''''2'''''''''''''''''">
              <a:rPr lang="en-US" altLang="en-US" sz="1400" smtClean="0">
                <a:cs typeface="+mn-cs"/>
              </a:rPr>
              <a:pPr/>
              <a:t>12</a:t>
            </a:fld>
            <a:endParaRPr lang="en-US" sz="1400" dirty="0">
              <a:cs typeface="+mn-cs"/>
            </a:endParaRPr>
          </a:p>
        </p:txBody>
      </p:sp>
      <p:sp>
        <p:nvSpPr>
          <p:cNvPr id="57" name="Text Placeholder 13">
            <a:extLst>
              <a:ext uri="{FF2B5EF4-FFF2-40B4-BE49-F238E27FC236}">
                <a16:creationId xmlns:a16="http://schemas.microsoft.com/office/drawing/2014/main" id="{BCFFCE94-C22A-458C-93E3-90F2A99124A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806113" y="4117975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0F3781A-8AA7-4C8E-903F-F1F9E174E677}" type="datetime'''''''2''5'''">
              <a:rPr lang="en-US" altLang="en-US" sz="1400" smtClean="0">
                <a:cs typeface="+mn-cs"/>
              </a:rPr>
              <a:pPr/>
              <a:t>25</a:t>
            </a:fld>
            <a:endParaRPr lang="en-US" sz="1400" dirty="0">
              <a:cs typeface="+mn-cs"/>
            </a:endParaRPr>
          </a:p>
        </p:txBody>
      </p:sp>
      <p:sp>
        <p:nvSpPr>
          <p:cNvPr id="78" name="Text Placeholder 13">
            <a:extLst>
              <a:ext uri="{FF2B5EF4-FFF2-40B4-BE49-F238E27FC236}">
                <a16:creationId xmlns:a16="http://schemas.microsoft.com/office/drawing/2014/main" id="{A561CADE-86A3-46D1-96DA-97EC67D1EE7A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6237289" y="4494213"/>
            <a:ext cx="14922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DD88E7-9D62-4403-A2CA-B5F38A2C20E5}" type="datetime'''''''''''''''''''''''''''''3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61" name="Text Placeholder 13">
            <a:extLst>
              <a:ext uri="{FF2B5EF4-FFF2-40B4-BE49-F238E27FC236}">
                <a16:creationId xmlns:a16="http://schemas.microsoft.com/office/drawing/2014/main" id="{C12D5E8B-D944-4C53-B636-B7D11E76871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11107738" y="3829050"/>
            <a:ext cx="244475" cy="2635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D0E38B5-5818-4C33-813F-852F78848968}" type="datetime'''''''''''''''''''1''''''''''0''''''''''''''''''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29" name="Text Placeholder 13">
            <a:extLst>
              <a:ext uri="{FF2B5EF4-FFF2-40B4-BE49-F238E27FC236}">
                <a16:creationId xmlns:a16="http://schemas.microsoft.com/office/drawing/2014/main" id="{5D1DCB40-F03F-4327-824F-7F089C18097E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188074" y="37576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75A1B6-814D-4D95-98F6-549DADB3FFC9}" type="datetime'''''''''8''''''''''''''''''''''''''''''''''7'''''''''">
              <a:rPr lang="en-US" altLang="en-US" sz="1400" smtClean="0">
                <a:effectLst/>
                <a:cs typeface="+mn-cs"/>
              </a:rPr>
              <a:pPr/>
              <a:t>87</a:t>
            </a:fld>
            <a:endParaRPr lang="en-US" sz="1400" dirty="0">
              <a:cs typeface="+mn-cs"/>
            </a:endParaRP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0FFDF71C-0440-4770-B56B-A68283FBDB4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652000" y="37099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521D821-7FA8-44E3-BA0F-0D5256D3282B}" type="datetime'''''''''''''''''''''3''''''''''''4'''''''''''''''''''">
              <a:rPr lang="en-US" altLang="en-US" sz="1400" smtClean="0">
                <a:cs typeface="+mn-cs"/>
              </a:rPr>
              <a:pPr/>
              <a:t>34</a:t>
            </a:fld>
            <a:endParaRPr lang="en-US" sz="1400" dirty="0">
              <a:cs typeface="+mn-cs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6299FE6E-FA5A-4D0E-A42A-3DBD8A02045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129338" y="1601788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103C7A-73CB-4F6A-9F32-9777655F93CA}" type="datetime'''''''''''''''1''''''''''''''''''''''''''''''''''6''''''6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66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C09CE320-929C-422D-830C-E21699ECE87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002588" y="4765675"/>
            <a:ext cx="1235075" cy="127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A4CCA9-5177-45C9-BE31-6ED63D835C23}" type="thinkcell&lt;?xml version=&quot;1.0&quot; encoding=&quot;UTF-16&quot; standalone=&quot;yes&quot;?&gt;&lt;root reqver=&quot;27037&quot;&gt;&lt;version val=&quot;32476&quot;/&gt;&lt;PersistentType&gt;&lt;m_guid val=&quot;a39bfbb2-44ba-4379-b009-d56d9ca28a6b&quot;/&gt;&lt;m_prec&gt;&lt;m_yearfmt&gt;&lt;begin val=&quot;0&quot;/&gt;&lt;end val=&quot;4&quot;/&gt;&lt;/m_yearfmt&gt;&lt;/m_prec&gt;&lt;/PersistentType&gt;&lt;/root&gt;">
              <a:rPr lang="fr-FR" altLang="en-US" sz="1400" smtClean="0">
                <a:cs typeface="+mn-cs"/>
              </a:rPr>
              <a:pPr/>
              <a:t>Priorité 3 : Améliorer la santé des adolescent(e)s / jeunes via la multisectorialité</a:t>
            </a:fld>
            <a:endParaRPr lang="en-US" sz="1400" dirty="0">
              <a:cs typeface="+mn-cs"/>
            </a:endParaRPr>
          </a:p>
        </p:txBody>
      </p:sp>
      <p:sp>
        <p:nvSpPr>
          <p:cNvPr id="110" name="Text Placeholder 13">
            <a:extLst>
              <a:ext uri="{FF2B5EF4-FFF2-40B4-BE49-F238E27FC236}">
                <a16:creationId xmlns:a16="http://schemas.microsoft.com/office/drawing/2014/main" id="{9AA7A60C-48FE-4863-986D-F46BE55FA228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391400" y="2579688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D8677D6-636B-423D-AC60-4B12E2E11B34}" type="datetime'7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7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4" name="Text Placeholder 13">
            <a:extLst>
              <a:ext uri="{FF2B5EF4-FFF2-40B4-BE49-F238E27FC236}">
                <a16:creationId xmlns:a16="http://schemas.microsoft.com/office/drawing/2014/main" id="{E5360C84-E514-4A7F-8B36-14FB62D3F1D4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8496300" y="4400550"/>
            <a:ext cx="247650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3FA341-E530-4E5B-B0C0-02627C79D050}" type="datetime'''''''''''''''''''1''''''''''''''''4'''''''''''">
              <a:rPr lang="en-US" altLang="en-US" sz="1400" smtClean="0">
                <a:effectLst/>
                <a:cs typeface="+mn-cs"/>
              </a:rPr>
              <a:pPr/>
              <a:t>14</a:t>
            </a:fld>
            <a:endParaRPr lang="en-US" sz="1400" dirty="0">
              <a:cs typeface="+mn-cs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B573A3DA-76A7-4255-8461-175280A836AE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283450" y="2335213"/>
            <a:ext cx="3667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769B084-90ED-4067-A262-1E933A534513}" type="datetime'1''''''2''''''''2''''''''''''''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2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56" name="Text Placeholder 13">
            <a:extLst>
              <a:ext uri="{FF2B5EF4-FFF2-40B4-BE49-F238E27FC236}">
                <a16:creationId xmlns:a16="http://schemas.microsoft.com/office/drawing/2014/main" id="{1B528963-CEE5-469A-9B47-D6639499618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0798175" y="375126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0F04CB-8606-468A-8E11-77D9BEBBB5BA}" type="datetime'''''''''37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37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CFB71A72-7D93-4E43-A37D-BCD785993A43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488363" y="411956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5179C4-17A5-4F83-8152-D823E0869869}" type="datetime'''''''''''''''''''''''1''''''''''''''''''''''''''''''5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5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5CEBCCB1-D54E-47E9-B68D-0177B744C1F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6188074" y="2471738"/>
            <a:ext cx="247650" cy="212725"/>
          </a:xfrm>
          <a:prstGeom prst="rect">
            <a:avLst/>
          </a:prstGeom>
          <a:solidFill>
            <a:srgbClr val="FFC90D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946584-604A-4470-9F01-9535893D785A}" type="datetime'''''''''''''''''''''''7''''''''''''1'''''''''''''''''''">
              <a:rPr lang="en-US" altLang="en-US" sz="1400" smtClean="0">
                <a:cs typeface="+mn-cs"/>
              </a:rPr>
              <a:pPr/>
              <a:t>71</a:t>
            </a:fld>
            <a:endParaRPr lang="en-US" sz="1400" dirty="0">
              <a:cs typeface="+mn-cs"/>
            </a:endParaRP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A6145D9-D600-47D8-BAED-051D24B57DD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908800" y="4765675"/>
            <a:ext cx="1116013" cy="1701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B4DA2A4-823C-490A-A3B5-2954406018DA}" type="thinkcell&lt;?xml version=&quot;1.0&quot; encoding=&quot;UTF-16&quot; standalone=&quot;yes&quot;?&gt;&lt;root reqver=&quot;27037&quot;&gt;&lt;version val=&quot;32476&quot;/&gt;&lt;PersistentType&gt;&lt;m_guid val=&quot;e99bdd02-bc91-464b-b3f8-00d410f4ade6&quot;/&gt;&lt;m_prec&gt;&lt;m_yearfmt&gt;&lt;begin val=&quot;0&quot;/&gt;&lt;end val=&quot;4&quot;/&gt;&lt;/m_yearfmt&gt;&lt;/m_prec&gt;&lt;/PersistentType&gt;&lt;/root&gt;">
              <a:rPr lang="fr-FR" altLang="en-US" sz="1400" smtClean="0">
                <a:cs typeface="+mn-cs"/>
              </a:rPr>
              <a:pPr/>
              <a:t>Priorité 2 : Améliorer l’équité et la demande de services de SRMNIA pour les personnes vulnérables</a:t>
            </a:fld>
            <a:endParaRPr lang="en-US" sz="1400" dirty="0">
              <a:cs typeface="+mn-cs"/>
            </a:endParaRPr>
          </a:p>
        </p:txBody>
      </p:sp>
      <p:sp>
        <p:nvSpPr>
          <p:cNvPr id="105" name="Text Placeholder 13">
            <a:extLst>
              <a:ext uri="{FF2B5EF4-FFF2-40B4-BE49-F238E27FC236}">
                <a16:creationId xmlns:a16="http://schemas.microsoft.com/office/drawing/2014/main" id="{18D6A434-6C22-475B-95A3-EBA3799AB04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6237289" y="1846263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04653B-8C2C-4E9E-A4D6-B24032A5D222}" type="datetime'''''6''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6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6" name="Text Placeholder 13">
            <a:extLst>
              <a:ext uri="{FF2B5EF4-FFF2-40B4-BE49-F238E27FC236}">
                <a16:creationId xmlns:a16="http://schemas.microsoft.com/office/drawing/2014/main" id="{A44D62BA-1F58-433C-9D14-A28A7E24B9C7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7342188" y="30654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F02A45-ABF4-4236-8FBD-77F14A551F8B}" type="datetime'''''''''''''''''''5''''''''3'''''''''''''''''''''''''">
              <a:rPr lang="en-US" altLang="en-US" sz="1400" smtClean="0">
                <a:cs typeface="+mn-cs"/>
              </a:rPr>
              <a:pPr/>
              <a:t>53</a:t>
            </a:fld>
            <a:endParaRPr lang="en-US" sz="1400" dirty="0">
              <a:cs typeface="+mn-cs"/>
            </a:endParaRPr>
          </a:p>
        </p:txBody>
      </p:sp>
      <p:sp>
        <p:nvSpPr>
          <p:cNvPr id="80" name="Text Placeholder 13">
            <a:extLst>
              <a:ext uri="{FF2B5EF4-FFF2-40B4-BE49-F238E27FC236}">
                <a16:creationId xmlns:a16="http://schemas.microsoft.com/office/drawing/2014/main" id="{4780F1C2-8670-44BD-8A42-20D939BBC9AF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342188" y="433546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47C37B-0687-4C9C-B884-CED1ABFA8FC2}" type="datetime'''''''''''''''''''''''2''''''''''''''''''''''''''''''3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3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 useBgFill="1">
        <p:nvSpPr>
          <p:cNvPr id="37" name="Text Placeholder 13">
            <a:extLst>
              <a:ext uri="{FF2B5EF4-FFF2-40B4-BE49-F238E27FC236}">
                <a16:creationId xmlns:a16="http://schemas.microsoft.com/office/drawing/2014/main" id="{D7F65196-D775-41F5-9746-3F6A11678DD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8799513" y="4064000"/>
            <a:ext cx="244475" cy="160338"/>
          </a:xfrm>
          <a:prstGeom prst="rect">
            <a:avLst/>
          </a:prstGeom>
          <a:ln>
            <a:noFill/>
          </a:ln>
          <a:effectLst/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E2FE26-9059-4EF7-939A-3EF6A0107A07}" type="datetime'''''''''2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CA1E045D-DAF4-4EFF-9425-04989AAEF62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342188" y="38227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4AAF317-0A76-4517-A5EA-B4EFA6DD06DC}" type="datetime'''''''''''''''''''''''''''''''''''''''''''4''''0'''''">
              <a:rPr lang="en-US" altLang="en-US" sz="1400" smtClean="0">
                <a:cs typeface="+mn-cs"/>
              </a:rPr>
              <a:pPr/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36" name="Text Placeholder 13">
            <a:extLst>
              <a:ext uri="{FF2B5EF4-FFF2-40B4-BE49-F238E27FC236}">
                <a16:creationId xmlns:a16="http://schemas.microsoft.com/office/drawing/2014/main" id="{13F460C1-18C9-4DC4-8196-E925AA3D344A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7643813" y="1119188"/>
            <a:ext cx="244475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B8BA0A-D67C-4C1D-98A0-F81DD554CC7E}" type="datetime'''1''''''''''''''''''''''''''''''''''7''''''0''''''''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70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FC7AC8CA-9869-46A4-8F71-B3FFDB059912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9644063" y="326548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3464AB-5A9C-4D47-A899-0A6E47929EF2}" type="datetime'6''''''''7''''''''''''''''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67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6A54A0C5-EDA0-4973-97E4-2D7D0956CDB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0412413" y="4765675"/>
            <a:ext cx="1036638" cy="127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E0B74C-95C2-4469-80FF-F0DF74FDC198}" type="thinkcell&lt;?xml version=&quot;1.0&quot; encoding=&quot;UTF-16&quot; standalone=&quot;yes&quot;?&gt;&lt;root reqver=&quot;27037&quot;&gt;&lt;version val=&quot;32476&quot;/&gt;&lt;PersistentType&gt;&lt;m_guid val=&quot;9ad094b2-343e-40e4-9e7e-df6038d7521e&quot;/&gt;&lt;m_prec&gt;&lt;m_yearfmt&gt;&lt;begin val=&quot;0&quot;/&gt;&lt;end val=&quot;4&quot;/&gt;&lt;/m_yearfmt&gt;&lt;/m_prec&gt;&lt;/PersistentType&gt;&lt;/root&gt;">
              <a:rPr lang="fr-FR" altLang="en-US" sz="1400" smtClean="0">
                <a:cs typeface="+mn-cs"/>
              </a:rPr>
              <a:pPr/>
              <a:t>Priorité 5 : Renforcer la gouvernance du système de santé et de l’état civil</a:t>
            </a:fld>
            <a:endParaRPr lang="en-US" sz="1400" dirty="0">
              <a:cs typeface="+mn-cs"/>
            </a:endParaRP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F10D3144-AFDE-42C1-A474-BCB46E8AF6F9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734050" y="4765675"/>
            <a:ext cx="1155700" cy="1276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F4D798-309D-4294-A304-66814EAC1AFE}" type="thinkcell&lt;?xml version=&quot;1.0&quot; encoding=&quot;UTF-16&quot; standalone=&quot;yes&quot;?&gt;&lt;root reqver=&quot;27037&quot;&gt;&lt;version val=&quot;32476&quot;/&gt;&lt;PersistentType&gt;&lt;m_guid val=&quot;c437458e-e3ba-4285-be4e-6c2b17d75885&quot;/&gt;&lt;m_prec&gt;&lt;m_yearfmt&gt;&lt;begin val=&quot;0&quot;/&gt;&lt;end val=&quot;4&quot;/&gt;&lt;/m_yearfmt&gt;&lt;/m_prec&gt;&lt;/PersistentType&gt;&lt;/root&gt;">
              <a:rPr lang="fr-FR" altLang="en-US" sz="1400" smtClean="0">
                <a:cs typeface="+mn-cs"/>
              </a:rPr>
              <a:pPr/>
              <a:t>Priorité 1 : Offrir un paquet intégré d’interventions de SRMNIA à haut impact</a:t>
            </a:fld>
            <a:endParaRPr lang="en-US" sz="1400" dirty="0">
              <a:cs typeface="+mn-cs"/>
            </a:endParaRPr>
          </a:p>
        </p:txBody>
      </p:sp>
      <p:sp>
        <p:nvSpPr>
          <p:cNvPr id="41" name="Text Placeholder 13">
            <a:extLst>
              <a:ext uri="{FF2B5EF4-FFF2-40B4-BE49-F238E27FC236}">
                <a16:creationId xmlns:a16="http://schemas.microsoft.com/office/drawing/2014/main" id="{34CD6D09-C8A6-459D-A698-123FAEA63F45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988050" y="2684463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263EF9-AD5C-4A46-9127-3D7E4519FB11}" type="datetime'''+''''''''''''3''''''''''''7''''''''''''''''%'''''''">
              <a:rPr lang="en-US" altLang="en-US" sz="1400" b="1" smtClean="0">
                <a:effectLst/>
                <a:cs typeface="+mn-cs"/>
              </a:rPr>
              <a:pPr/>
              <a:t>+37%</a:t>
            </a:fld>
            <a:endParaRPr lang="en-US" sz="1400" b="1" dirty="0">
              <a:cs typeface="+mn-cs"/>
            </a:endParaRPr>
          </a:p>
        </p:txBody>
      </p:sp>
      <p:sp>
        <p:nvSpPr>
          <p:cNvPr id="39" name="Text Placeholder 13">
            <a:extLst>
              <a:ext uri="{FF2B5EF4-FFF2-40B4-BE49-F238E27FC236}">
                <a16:creationId xmlns:a16="http://schemas.microsoft.com/office/drawing/2014/main" id="{6F9C4E31-466A-459B-8072-339A21637CB2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172325" y="1897063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730914-F09F-4A0A-8A3A-4A667FB16E58}" type="datetime'''''''''-''''''''''''''''''28''''''''''%'''">
              <a:rPr lang="en-US" altLang="en-US" sz="1400" b="1" smtClean="0">
                <a:effectLst/>
                <a:cs typeface="+mn-cs"/>
              </a:rPr>
              <a:pPr/>
              <a:t>-28%</a:t>
            </a:fld>
            <a:endParaRPr lang="en-US" sz="1400" b="1" dirty="0">
              <a:cs typeface="+mn-cs"/>
            </a:endParaRPr>
          </a:p>
        </p:txBody>
      </p:sp>
      <p:sp>
        <p:nvSpPr>
          <p:cNvPr id="40" name="Text Placeholder 13">
            <a:extLst>
              <a:ext uri="{FF2B5EF4-FFF2-40B4-BE49-F238E27FC236}">
                <a16:creationId xmlns:a16="http://schemas.microsoft.com/office/drawing/2014/main" id="{49336A8F-AC53-4317-A39F-7B0EC6268349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8318500" y="3762375"/>
            <a:ext cx="7889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C7DD92-90E0-4A93-9FA7-7C87D929CDB2}" type="datetime'''''+''6''''''''''''''''''''''2''''''''7''''''''%'''''''">
              <a:rPr lang="en-US" altLang="en-US" sz="1400" b="1" smtClean="0">
                <a:effectLst/>
                <a:cs typeface="+mn-cs"/>
              </a:rPr>
              <a:pPr/>
              <a:t>+627%</a:t>
            </a:fld>
            <a:endParaRPr lang="en-US" sz="1400" b="1" dirty="0">
              <a:cs typeface="+mn-cs"/>
            </a:endParaRPr>
          </a:p>
        </p:txBody>
      </p:sp>
      <p:sp>
        <p:nvSpPr>
          <p:cNvPr id="42" name="Text Placeholder 13">
            <a:extLst>
              <a:ext uri="{FF2B5EF4-FFF2-40B4-BE49-F238E27FC236}">
                <a16:creationId xmlns:a16="http://schemas.microsoft.com/office/drawing/2014/main" id="{00EFE2B6-1D95-4B64-B6A6-C02981447FE1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097963" y="2963863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173978-0C5D-417B-A77D-D81ABCD6A942}" type="datetime'-''''''''''2''''''''''''''''8''''''%'''">
              <a:rPr lang="en-US" altLang="en-US" sz="1400" b="1" smtClean="0">
                <a:effectLst/>
                <a:cs typeface="+mn-cs"/>
              </a:rPr>
              <a:pPr/>
              <a:t>-28%</a:t>
            </a:fld>
            <a:endParaRPr lang="en-US" sz="1400" b="1" dirty="0">
              <a:cs typeface="+mn-cs"/>
            </a:endParaRPr>
          </a:p>
        </p:txBody>
      </p:sp>
      <p:sp>
        <p:nvSpPr>
          <p:cNvPr id="93" name="Text Placeholder 13">
            <a:extLst>
              <a:ext uri="{FF2B5EF4-FFF2-40B4-BE49-F238E27FC236}">
                <a16:creationId xmlns:a16="http://schemas.microsoft.com/office/drawing/2014/main" id="{788AFA62-B892-4596-8FEB-A8E359894E2C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1428413" y="3671888"/>
            <a:ext cx="7889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CA5F278-F2BE-4285-AD14-246FAF3E0CC8}" type="datetime'+''''''2''5''''''''''''''''6''''''%'''''''''''''''''''">
              <a:rPr lang="en-US" altLang="en-US" sz="1400" b="1" smtClean="0">
                <a:effectLst/>
                <a:cs typeface="+mn-cs"/>
              </a:rPr>
              <a:pPr/>
              <a:t>+256%</a:t>
            </a:fld>
            <a:endParaRPr lang="en-US" sz="1400" b="1" dirty="0"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5A7C29D-067F-457A-91C3-72B3AC00D7EA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10715625" y="2081213"/>
            <a:ext cx="250825" cy="187325"/>
          </a:xfrm>
          <a:prstGeom prst="rect">
            <a:avLst/>
          </a:prstGeom>
          <a:solidFill>
            <a:srgbClr val="FFC90D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F88975AA-9906-46BC-A0BA-E1CD2583B7F0}"/>
              </a:ext>
            </a:extLst>
          </p:cNvPr>
          <p:cNvCxnSpPr/>
          <p:nvPr>
            <p:custDataLst>
              <p:tags r:id="rId63"/>
            </p:custDataLst>
          </p:nvPr>
        </p:nvCxnSpPr>
        <p:spPr bwMode="gray">
          <a:xfrm>
            <a:off x="10685463" y="1647825"/>
            <a:ext cx="1587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8BCB628-B60D-4262-85AD-AB61265FBD27}"/>
              </a:ext>
            </a:extLst>
          </p:cNvPr>
          <p:cNvCxnSpPr/>
          <p:nvPr>
            <p:custDataLst>
              <p:tags r:id="rId64"/>
            </p:custDataLst>
          </p:nvPr>
        </p:nvCxnSpPr>
        <p:spPr bwMode="gray">
          <a:xfrm>
            <a:off x="10898188" y="1647825"/>
            <a:ext cx="1588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DD20B60A-BC2B-4F91-BFFC-6C4DE96A3008}"/>
              </a:ext>
            </a:extLst>
          </p:cNvPr>
          <p:cNvSpPr/>
          <p:nvPr>
            <p:custDataLst>
              <p:tags r:id="rId65"/>
            </p:custDataLst>
          </p:nvPr>
        </p:nvSpPr>
        <p:spPr bwMode="auto">
          <a:xfrm>
            <a:off x="10715625" y="2608263"/>
            <a:ext cx="250825" cy="1873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E563BE7-1D32-4D81-A1CA-11B1F0AAF9BA}"/>
              </a:ext>
            </a:extLst>
          </p:cNvPr>
          <p:cNvSpPr/>
          <p:nvPr>
            <p:custDataLst>
              <p:tags r:id="rId66"/>
            </p:custDataLst>
          </p:nvPr>
        </p:nvSpPr>
        <p:spPr bwMode="auto">
          <a:xfrm>
            <a:off x="10715625" y="2871788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01DB51A-A6A8-4171-8812-B44E5FE50C60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10715625" y="2344738"/>
            <a:ext cx="250825" cy="187325"/>
          </a:xfrm>
          <a:prstGeom prst="rect">
            <a:avLst/>
          </a:prstGeom>
          <a:solidFill>
            <a:srgbClr val="96969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58890176-6B78-4BB9-A4B3-2B189B117C77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10715625" y="1817688"/>
            <a:ext cx="250825" cy="187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B5E7221-8020-4465-85B4-F89A10FBC306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10747375" y="1603375"/>
            <a:ext cx="88900" cy="889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Text Placeholder 13">
            <a:extLst>
              <a:ext uri="{FF2B5EF4-FFF2-40B4-BE49-F238E27FC236}">
                <a16:creationId xmlns:a16="http://schemas.microsoft.com/office/drawing/2014/main" id="{3CD80E63-C8F9-4A4E-8885-D1F61A964561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11017250" y="1549400"/>
            <a:ext cx="4635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BA3C42B-1FB3-4BEA-835F-1DA1A3D560CA}" type="datetime'''''''Co''''''''''ut''''''''''''''s'''''''''''''''">
              <a:rPr lang="en-US" altLang="en-US" sz="1400" smtClean="0">
                <a:cs typeface="+mn-cs"/>
              </a:rPr>
              <a:pPr/>
              <a:t>Couts</a:t>
            </a:fld>
            <a:endParaRPr lang="en-US" sz="1400" dirty="0">
              <a:cs typeface="+mn-cs"/>
            </a:endParaRPr>
          </a:p>
        </p:txBody>
      </p:sp>
      <p:sp>
        <p:nvSpPr>
          <p:cNvPr id="48" name="Text Placeholder 13">
            <a:extLst>
              <a:ext uri="{FF2B5EF4-FFF2-40B4-BE49-F238E27FC236}">
                <a16:creationId xmlns:a16="http://schemas.microsoft.com/office/drawing/2014/main" id="{FC93103C-337F-40F6-B9AC-192404C03532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11017250" y="2603500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19AE943-BCAB-45C7-8104-71A19FAC753C}" type="datetime'''''''''''''''''''P''''''''''''T''''''''F''''''''''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76" name="Text Placeholder 13">
            <a:extLst>
              <a:ext uri="{FF2B5EF4-FFF2-40B4-BE49-F238E27FC236}">
                <a16:creationId xmlns:a16="http://schemas.microsoft.com/office/drawing/2014/main" id="{A60C1E25-490D-4FBB-9C01-8EE0E8E133D9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11017250" y="2867025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2FF2085-CFE0-4ABF-9FB7-E0AECDD9483A}" type="datetime'''''''''''''E''t''''''''''a''''''''''''''''''''t''''''''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91" name="Text Placeholder 13">
            <a:extLst>
              <a:ext uri="{FF2B5EF4-FFF2-40B4-BE49-F238E27FC236}">
                <a16:creationId xmlns:a16="http://schemas.microsoft.com/office/drawing/2014/main" id="{14945A24-C3B8-4D85-A921-6834EC176EBC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11017250" y="2076450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82EE93E-650F-48E2-8971-2981BD8812DB}" type="datetime'''Mé''''''''''nag''''''''''''''''''''e''''''''''s''''''''''''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98" name="Text Placeholder 13">
            <a:extLst>
              <a:ext uri="{FF2B5EF4-FFF2-40B4-BE49-F238E27FC236}">
                <a16:creationId xmlns:a16="http://schemas.microsoft.com/office/drawing/2014/main" id="{7F3AB3DA-139D-4E89-AB6F-0B1BA271D064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11017250" y="2339975"/>
            <a:ext cx="236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4302CA-1BD4-406C-BE8B-32CBE98467D8}" type="datetime'''''''''''''''''''''''C''''''''''''''T'''''''">
              <a:rPr lang="en-US" altLang="en-US" sz="1400" smtClean="0">
                <a:cs typeface="+mn-cs"/>
              </a:rPr>
              <a:pPr/>
              <a:t>CT</a:t>
            </a:fld>
            <a:endParaRPr lang="en-US" sz="1400" dirty="0">
              <a:cs typeface="+mn-cs"/>
            </a:endParaRPr>
          </a:p>
        </p:txBody>
      </p:sp>
      <p:sp>
        <p:nvSpPr>
          <p:cNvPr id="102" name="Text Placeholder 13">
            <a:extLst>
              <a:ext uri="{FF2B5EF4-FFF2-40B4-BE49-F238E27FC236}">
                <a16:creationId xmlns:a16="http://schemas.microsoft.com/office/drawing/2014/main" id="{16B6667D-6C05-4635-A7FD-522CCEEE7C0D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11017250" y="1812925"/>
            <a:ext cx="10445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D7B0E4-F838-4DA5-AC86-14BCF7F31AF5}" type="datetime'''S''e''''''''''ct''eu''''''''''r'' pr''''''''''i''''''''vé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85" name="Chart 84">
            <a:extLst>
              <a:ext uri="{FF2B5EF4-FFF2-40B4-BE49-F238E27FC236}">
                <a16:creationId xmlns:a16="http://schemas.microsoft.com/office/drawing/2014/main" id="{E615F422-86D7-483A-A587-72226ED8D048}"/>
              </a:ext>
            </a:extLst>
          </p:cNvPr>
          <p:cNvGraphicFramePr/>
          <p:nvPr>
            <p:custDataLst>
              <p:tags r:id="rId76"/>
            </p:custDataLst>
            <p:extLst>
              <p:ext uri="{D42A27DB-BD31-4B8C-83A1-F6EECF244321}">
                <p14:modId xmlns:p14="http://schemas.microsoft.com/office/powerpoint/2010/main" val="203413523"/>
              </p:ext>
            </p:extLst>
          </p:nvPr>
        </p:nvGraphicFramePr>
        <p:xfrm>
          <a:off x="1270000" y="1538288"/>
          <a:ext cx="319405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3"/>
          </a:graphicData>
        </a:graphic>
      </p:graphicFrame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91727D53-A391-4831-A331-85E16889F838}"/>
              </a:ext>
            </a:extLst>
          </p:cNvPr>
          <p:cNvCxnSpPr/>
          <p:nvPr>
            <p:custDataLst>
              <p:tags r:id="rId77"/>
            </p:custDataLst>
          </p:nvPr>
        </p:nvCxnSpPr>
        <p:spPr bwMode="auto">
          <a:xfrm>
            <a:off x="1303338" y="4346575"/>
            <a:ext cx="79375" cy="9366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6" name="Text Placeholder 13">
            <a:extLst>
              <a:ext uri="{FF2B5EF4-FFF2-40B4-BE49-F238E27FC236}">
                <a16:creationId xmlns:a16="http://schemas.microsoft.com/office/drawing/2014/main" id="{8368895D-5458-4E09-AB3F-8861445E06BE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68325" y="3001963"/>
            <a:ext cx="709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D3DAC14-63C8-4452-9050-40054EA9835D}" type="datetime'''''P''''r''i''''''''''o''''''''r''''''i''t''''é ''''''2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iorité 2</a:t>
            </a:fld>
            <a:endParaRPr lang="en-US" sz="1400" dirty="0">
              <a:cs typeface="+mn-cs"/>
            </a:endParaRPr>
          </a:p>
        </p:txBody>
      </p:sp>
      <p:sp>
        <p:nvSpPr>
          <p:cNvPr id="139" name="Text Placeholder 13">
            <a:extLst>
              <a:ext uri="{FF2B5EF4-FFF2-40B4-BE49-F238E27FC236}">
                <a16:creationId xmlns:a16="http://schemas.microsoft.com/office/drawing/2014/main" id="{242C0BE8-1B6B-4630-80D6-8A50D849E9DF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194050" y="4605338"/>
            <a:ext cx="860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96FED8-CE4F-4559-A410-4C80EF22DE7D}" type="datetime'''''''R''''es''''''''''''o''''''''u''r''''''''c''''e''''s'">
              <a:rPr lang="en-US" altLang="en-US" sz="1400" smtClean="0">
                <a:cs typeface="+mn-cs"/>
              </a:rPr>
              <a:pPr/>
              <a:t>Resources</a:t>
            </a:fld>
            <a:endParaRPr lang="en-US" sz="1400" dirty="0">
              <a:cs typeface="+mn-cs"/>
            </a:endParaRPr>
          </a:p>
        </p:txBody>
      </p:sp>
      <p:sp>
        <p:nvSpPr>
          <p:cNvPr id="188" name="Text Placeholder 13">
            <a:extLst>
              <a:ext uri="{FF2B5EF4-FFF2-40B4-BE49-F238E27FC236}">
                <a16:creationId xmlns:a16="http://schemas.microsoft.com/office/drawing/2014/main" id="{FA5636FA-53FD-4F71-A7F2-C35B013238B5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1955800" y="4333875"/>
            <a:ext cx="307975" cy="2127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7E4C38-A911-44E9-BF3C-BA22626B9DB0}" type="datetime'''''''''''''''''''''''''3''''''''%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87" name="Text Placeholder 13">
            <a:extLst>
              <a:ext uri="{FF2B5EF4-FFF2-40B4-BE49-F238E27FC236}">
                <a16:creationId xmlns:a16="http://schemas.microsoft.com/office/drawing/2014/main" id="{9C5E12DA-EE9D-4849-AE8B-B0348EE36AC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1955800" y="3621088"/>
            <a:ext cx="307975" cy="2127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31E394-DBFC-4A2A-874D-4D3E425D3D1E}" type="datetime'''''''''1''''''''''''''''''''''''''''%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cs typeface="+mn-cs"/>
            </a:endParaRPr>
          </a:p>
        </p:txBody>
      </p:sp>
      <p:sp>
        <p:nvSpPr>
          <p:cNvPr id="205" name="Text Placeholder 13">
            <a:extLst>
              <a:ext uri="{FF2B5EF4-FFF2-40B4-BE49-F238E27FC236}">
                <a16:creationId xmlns:a16="http://schemas.microsoft.com/office/drawing/2014/main" id="{8336DF08-3759-46A5-86BD-3093E9262B72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3470275" y="3590925"/>
            <a:ext cx="307975" cy="21272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54E192-5147-48B9-B6AE-AC4D6EE5FE85}" type="datetime'''4%'''''''''''''''''''''''''''">
              <a:rPr lang="en-US" altLang="en-US" sz="1400" smtClean="0">
                <a:effectLst/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123" name="Text Placeholder 13">
            <a:extLst>
              <a:ext uri="{FF2B5EF4-FFF2-40B4-BE49-F238E27FC236}">
                <a16:creationId xmlns:a16="http://schemas.microsoft.com/office/drawing/2014/main" id="{5C62FDB0-38BF-4091-BD1D-1F83F1488F25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1871663" y="4605338"/>
            <a:ext cx="476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99CE48-1673-4425-8228-99D7D5F7D293}" type="datetime'''''''''''C''''''o''''''''''''''u''t''''''''''''s'''''''''''">
              <a:rPr lang="en-US" altLang="en-US" sz="1400" smtClean="0">
                <a:cs typeface="+mn-cs"/>
              </a:rPr>
              <a:pPr/>
              <a:t>Couts</a:t>
            </a:fld>
            <a:endParaRPr lang="en-US" sz="1400" dirty="0">
              <a:cs typeface="+mn-cs"/>
            </a:endParaRPr>
          </a:p>
        </p:txBody>
      </p:sp>
      <p:sp>
        <p:nvSpPr>
          <p:cNvPr id="284" name="Text Placeholder 13">
            <a:extLst>
              <a:ext uri="{FF2B5EF4-FFF2-40B4-BE49-F238E27FC236}">
                <a16:creationId xmlns:a16="http://schemas.microsoft.com/office/drawing/2014/main" id="{D184FDC2-4277-4C80-B99C-E485D1713884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519113" y="1952625"/>
            <a:ext cx="758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665BF1A-D0EF-4DE4-A874-3B972713D6EA}" type="datetime'Pr''''i''''''or''i''t''''''''''''''''''''''é 1'''''''' 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iorité 1 </a:t>
            </a:fld>
            <a:endParaRPr lang="en-US" sz="1400" dirty="0">
              <a:cs typeface="+mn-cs"/>
            </a:endParaRPr>
          </a:p>
        </p:txBody>
      </p:sp>
      <p:sp>
        <p:nvSpPr>
          <p:cNvPr id="287" name="Text Placeholder 13">
            <a:extLst>
              <a:ext uri="{FF2B5EF4-FFF2-40B4-BE49-F238E27FC236}">
                <a16:creationId xmlns:a16="http://schemas.microsoft.com/office/drawing/2014/main" id="{29A8D49F-85E0-4C78-8ECC-3DBBE73B5684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519113" y="3621088"/>
            <a:ext cx="758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F9F48C-2F6A-40FA-BB83-75F498B58E18}" type="datetime'''''P''''''r''''''io''''r''''''''i''''t''é'''''' ''''3'''' 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iorité 3 </a:t>
            </a:fld>
            <a:endParaRPr lang="en-US" sz="1400" dirty="0">
              <a:cs typeface="+mn-cs"/>
            </a:endParaRPr>
          </a:p>
        </p:txBody>
      </p:sp>
      <p:sp>
        <p:nvSpPr>
          <p:cNvPr id="288" name="Text Placeholder 13">
            <a:extLst>
              <a:ext uri="{FF2B5EF4-FFF2-40B4-BE49-F238E27FC236}">
                <a16:creationId xmlns:a16="http://schemas.microsoft.com/office/drawing/2014/main" id="{DBD5BB52-AE1A-4700-BD22-78BF17976107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568325" y="3962400"/>
            <a:ext cx="709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5C88F8A-0132-4A78-9538-590A29C647FE}" type="datetime'''''P''r''''i''o''''''''''''r''''''i''té'' ''''4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iorité 4</a:t>
            </a:fld>
            <a:endParaRPr lang="en-US" sz="1400" dirty="0">
              <a:cs typeface="+mn-cs"/>
            </a:endParaRPr>
          </a:p>
        </p:txBody>
      </p:sp>
      <p:sp>
        <p:nvSpPr>
          <p:cNvPr id="289" name="Text Placeholder 13">
            <a:extLst>
              <a:ext uri="{FF2B5EF4-FFF2-40B4-BE49-F238E27FC236}">
                <a16:creationId xmlns:a16="http://schemas.microsoft.com/office/drawing/2014/main" id="{56B4BBB5-0D2F-4A50-90FF-3F53C959FD49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68325" y="4240213"/>
            <a:ext cx="709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C85D4C1-8E2E-48BA-94EB-1546FA392E5D}" type="datetime'''''P''''''''rio''''''r''i''''t''''''''''é'''''''' 5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Priorité 5</a:t>
            </a:fld>
            <a:endParaRPr lang="en-US" sz="1400" dirty="0">
              <a:cs typeface="+mn-cs"/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A7D8A7B8-01F6-42D2-9F5D-FC75905F39C8}"/>
              </a:ext>
            </a:extLst>
          </p:cNvPr>
          <p:cNvSpPr txBox="1"/>
          <p:nvPr/>
        </p:nvSpPr>
        <p:spPr>
          <a:xfrm>
            <a:off x="6880225" y="1008390"/>
            <a:ext cx="42412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alyse des gaps de financement du DI SRMNIA-N par source de financement et par priorité (2019-2022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5" name="TextBox 294">
            <a:extLst>
              <a:ext uri="{FF2B5EF4-FFF2-40B4-BE49-F238E27FC236}">
                <a16:creationId xmlns:a16="http://schemas.microsoft.com/office/drawing/2014/main" id="{B1F578E3-B3C7-43B2-8FC0-6A413BC94EE8}"/>
              </a:ext>
            </a:extLst>
          </p:cNvPr>
          <p:cNvSpPr txBox="1"/>
          <p:nvPr/>
        </p:nvSpPr>
        <p:spPr>
          <a:xfrm>
            <a:off x="908814" y="1062830"/>
            <a:ext cx="35418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portion du poids des priorités de DI SRMNIA par coût et ressources(2019-2022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FFD80A6E-07CA-41D0-BF18-BD0FAD98E632}"/>
              </a:ext>
            </a:extLst>
          </p:cNvPr>
          <p:cNvSpPr txBox="1">
            <a:spLocks noChangeAspect="1"/>
          </p:cNvSpPr>
          <p:nvPr/>
        </p:nvSpPr>
        <p:spPr>
          <a:xfrm>
            <a:off x="329185" y="4975224"/>
            <a:ext cx="4741579" cy="173037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Les ressources disponibles non distribuées de manière optimale en fonction des coût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41% des ressource en priorité 1 (effet des dépenses des ménages)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/>
              <a:t>Un gap de financement de 28% sur priorité 2 et 4</a:t>
            </a:r>
            <a:endParaRPr lang="en-US" dirty="0"/>
          </a:p>
        </p:txBody>
      </p:sp>
      <p:sp>
        <p:nvSpPr>
          <p:cNvPr id="88" name="Title 2">
            <a:extLst>
              <a:ext uri="{FF2B5EF4-FFF2-40B4-BE49-F238E27FC236}">
                <a16:creationId xmlns:a16="http://schemas.microsoft.com/office/drawing/2014/main" id="{30B82991-4C07-44BE-809A-E98908D7257D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 des gaps de financement par source de financement et par priorité du DI SRMNIA-N (2019-2022)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A4640892-E066-4A14-9A95-1DB06AC59CB2}"/>
              </a:ext>
            </a:extLst>
          </p:cNvPr>
          <p:cNvSpPr txBox="1"/>
          <p:nvPr/>
        </p:nvSpPr>
        <p:spPr>
          <a:xfrm>
            <a:off x="4870709" y="1446220"/>
            <a:ext cx="400110" cy="1172362"/>
          </a:xfrm>
          <a:prstGeom prst="rect">
            <a:avLst/>
          </a:prstGeom>
          <a:noFill/>
        </p:spPr>
        <p:txBody>
          <a:bodyPr vert="vert270" wrap="square" rtlCol="0" anchor="ctr" anchorCtr="0">
            <a:spAutoFit/>
          </a:bodyPr>
          <a:lstStyle/>
          <a:p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illiards CFA</a:t>
            </a:r>
          </a:p>
        </p:txBody>
      </p:sp>
    </p:spTree>
    <p:extLst>
      <p:ext uri="{BB962C8B-B14F-4D97-AF65-F5344CB8AC3E}">
        <p14:creationId xmlns:p14="http://schemas.microsoft.com/office/powerpoint/2010/main" val="26209282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>
            <a:extLst>
              <a:ext uri="{FF2B5EF4-FFF2-40B4-BE49-F238E27FC236}">
                <a16:creationId xmlns:a16="http://schemas.microsoft.com/office/drawing/2014/main" id="{CBBC2F4F-8B57-4094-AC9D-DC4B271ECD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802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102" imgW="416" imgH="416" progId="TCLayout.ActiveDocument.1">
                  <p:embed/>
                </p:oleObj>
              </mc:Choice>
              <mc:Fallback>
                <p:oleObj name="think-cell Slide" r:id="rId102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0" name="Chart 209">
            <a:extLst>
              <a:ext uri="{FF2B5EF4-FFF2-40B4-BE49-F238E27FC236}">
                <a16:creationId xmlns:a16="http://schemas.microsoft.com/office/drawing/2014/main" id="{5DFA963A-B0EE-4BD6-AE78-057E58E89C5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67754443"/>
              </p:ext>
            </p:extLst>
          </p:nvPr>
        </p:nvGraphicFramePr>
        <p:xfrm>
          <a:off x="3592513" y="1631950"/>
          <a:ext cx="5027612" cy="147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4"/>
          </a:graphicData>
        </a:graphic>
      </p:graphicFrame>
      <p:sp>
        <p:nvSpPr>
          <p:cNvPr id="500" name="Text Placeholder 13">
            <a:extLst>
              <a:ext uri="{FF2B5EF4-FFF2-40B4-BE49-F238E27FC236}">
                <a16:creationId xmlns:a16="http://schemas.microsoft.com/office/drawing/2014/main" id="{E81C9F6C-45FC-48AF-9028-F7807F474C1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02000" y="16081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4E6EED-EB65-4FF5-909D-F3791BBD4D0B}" type="datetime'''''''''''''''''8''''''''''''0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cs typeface="+mn-cs"/>
            </a:endParaRPr>
          </a:p>
        </p:txBody>
      </p:sp>
      <p:sp>
        <p:nvSpPr>
          <p:cNvPr id="231" name="Text Placeholder 13">
            <a:extLst>
              <a:ext uri="{FF2B5EF4-FFF2-40B4-BE49-F238E27FC236}">
                <a16:creationId xmlns:a16="http://schemas.microsoft.com/office/drawing/2014/main" id="{B996C929-9AA3-44CC-AE69-E3B51348E3C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02000" y="1936750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E46B569-CA68-48AF-8A6F-31E26626CB4E}" type="datetime'''''''''6''''''''''''''''''''''''''''''''''''''''0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cs typeface="+mn-cs"/>
            </a:endParaRP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6942EF4C-2E66-4A11-B9F2-BBD03490862E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400425" y="2921000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325BEB-34FB-420C-B3AE-118F36A04268}" type="datetime'''''''''''''0''''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135" name="Text Placeholder 13">
            <a:extLst>
              <a:ext uri="{FF2B5EF4-FFF2-40B4-BE49-F238E27FC236}">
                <a16:creationId xmlns:a16="http://schemas.microsoft.com/office/drawing/2014/main" id="{AD995D12-BBAA-40EA-B99D-01A91DFE221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02000" y="25923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83A54C1-A931-4967-9385-940149BA2B88}" type="datetime'''''''''''''''''''''''2''''''''0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139" name="Text Placeholder 13">
            <a:extLst>
              <a:ext uri="{FF2B5EF4-FFF2-40B4-BE49-F238E27FC236}">
                <a16:creationId xmlns:a16="http://schemas.microsoft.com/office/drawing/2014/main" id="{D0977FD0-5251-4202-9535-C82926ECE42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302000" y="22653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9FA55AD-7B81-4B9F-8AF8-C878100AA47C}" type="datetime'''''4''''''''0''''''''''''''''''''''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US" sz="1400" dirty="0"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47B95A8-A0EB-447F-A1A9-B2FA58AFE981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8618538" y="2582863"/>
            <a:ext cx="0" cy="1587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F13DE88-3CF0-49AD-B2D0-864CE4143A0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6378575" y="2674938"/>
            <a:ext cx="12287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F116148-1A11-4075-B088-B3E610556EB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6105525" y="2668588"/>
            <a:ext cx="15017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8" name="Straight Connector 597">
            <a:extLst>
              <a:ext uri="{FF2B5EF4-FFF2-40B4-BE49-F238E27FC236}">
                <a16:creationId xmlns:a16="http://schemas.microsoft.com/office/drawing/2014/main" id="{EFA7FC02-C81C-4576-87EC-D7C5656D4E3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4160838" y="2270125"/>
            <a:ext cx="0" cy="1905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3E4C739-BD5F-4228-AED0-79F3435E1E14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7564438" y="2665413"/>
            <a:ext cx="0" cy="1270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2F9159A2-8482-45EA-9D78-1E67E90B6EC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323263" y="2586038"/>
            <a:ext cx="338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8" name="Straight Connector 607">
            <a:extLst>
              <a:ext uri="{FF2B5EF4-FFF2-40B4-BE49-F238E27FC236}">
                <a16:creationId xmlns:a16="http://schemas.microsoft.com/office/drawing/2014/main" id="{A4A7A14E-3CEA-4363-A70A-90869F841932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5133975" y="2452688"/>
            <a:ext cx="0" cy="2127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C46BC041-A1BE-4E9E-BF6F-DF4D0AB95A5F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050213" y="2738438"/>
            <a:ext cx="6111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9" name="Straight Connector 588">
            <a:extLst>
              <a:ext uri="{FF2B5EF4-FFF2-40B4-BE49-F238E27FC236}">
                <a16:creationId xmlns:a16="http://schemas.microsoft.com/office/drawing/2014/main" id="{7C01389C-69E0-44CF-8FC6-8AB74A0B796A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6113463" y="2300288"/>
            <a:ext cx="25400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7" name="Straight Connector 586">
            <a:extLst>
              <a:ext uri="{FF2B5EF4-FFF2-40B4-BE49-F238E27FC236}">
                <a16:creationId xmlns:a16="http://schemas.microsoft.com/office/drawing/2014/main" id="{49299746-7E7D-4AA2-99B2-9F93788E3FEB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H="1">
            <a:off x="4168775" y="1905000"/>
            <a:ext cx="25400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0" name="Straight Connector 589">
            <a:extLst>
              <a:ext uri="{FF2B5EF4-FFF2-40B4-BE49-F238E27FC236}">
                <a16:creationId xmlns:a16="http://schemas.microsoft.com/office/drawing/2014/main" id="{0194104C-D817-4E3C-A805-3167EC2B6CC0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H="1">
            <a:off x="8058150" y="2370138"/>
            <a:ext cx="25400" cy="2857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1" name="Text Placeholder 13">
            <a:extLst>
              <a:ext uri="{FF2B5EF4-FFF2-40B4-BE49-F238E27FC236}">
                <a16:creationId xmlns:a16="http://schemas.microsoft.com/office/drawing/2014/main" id="{2D07EA74-BF02-48C8-8C0F-D07A775BCDB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029325" y="203676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84F757A-CDA8-4384-BACC-7BDF699BC3EF}" type="datetime'''''''''''''''2''2''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/>
              <a:t>22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569" name="Text Placeholder 13">
            <a:extLst>
              <a:ext uri="{FF2B5EF4-FFF2-40B4-BE49-F238E27FC236}">
                <a16:creationId xmlns:a16="http://schemas.microsoft.com/office/drawing/2014/main" id="{8D06A9D3-2991-4E23-BBA9-DA823C2FF38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084638" y="16414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F91616A-1F33-48CE-B3A0-97AF8E2C62E0}" type="datetime'''''''''4''''''''''''''''''''''''''''''''''6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/>
              <a:t>46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96" name="Text Placeholder 13">
            <a:extLst>
              <a:ext uri="{FF2B5EF4-FFF2-40B4-BE49-F238E27FC236}">
                <a16:creationId xmlns:a16="http://schemas.microsoft.com/office/drawing/2014/main" id="{B59026DF-5BB1-4810-AE14-86777182E51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713663" y="231616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6293CA-E3D1-43CD-A6F8-52373FFC9293}" type="datetime'2''''''''''''''''''''''''''''''7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7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95" name="Text Placeholder 13">
            <a:extLst>
              <a:ext uri="{FF2B5EF4-FFF2-40B4-BE49-F238E27FC236}">
                <a16:creationId xmlns:a16="http://schemas.microsoft.com/office/drawing/2014/main" id="{ED7C0FDD-8138-425E-A942-ABBD378D201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850188" y="3078163"/>
            <a:ext cx="4000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4074E5F-C42E-4660-B795-1BFEE6CE9AE0}" type="datetime'''''''Ko''''''''''l''''''d''a'''''">
              <a:rPr lang="en-US" altLang="en-US" sz="1200" smtClean="0">
                <a:cs typeface="+mn-cs"/>
              </a:rPr>
              <a:pPr/>
              <a:t>Kolda</a:t>
            </a:fld>
            <a:endParaRPr lang="en-US" sz="1200" dirty="0">
              <a:cs typeface="+mn-cs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DFD4ECDB-45A2-48C7-9734-EEF142C79C8C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622925" y="3078163"/>
            <a:ext cx="9652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28454C-EBED-4D77-8163-C3FDC0B9C0B0}" type="datetime'''''Ta''m''''''''''''''''''''baco''''u''''''''''''n''d''a'">
              <a:rPr lang="en-US" altLang="en-US" sz="1200" smtClean="0">
                <a:cs typeface="+mn-cs"/>
              </a:rPr>
              <a:pPr/>
              <a:t>Tambacounda</a:t>
            </a:fld>
            <a:endParaRPr lang="en-US" sz="1200" dirty="0">
              <a:cs typeface="+mn-cs"/>
            </a:endParaRPr>
          </a:p>
        </p:txBody>
      </p:sp>
      <p:sp>
        <p:nvSpPr>
          <p:cNvPr id="157" name="Text Placeholder 13">
            <a:extLst>
              <a:ext uri="{FF2B5EF4-FFF2-40B4-BE49-F238E27FC236}">
                <a16:creationId xmlns:a16="http://schemas.microsoft.com/office/drawing/2014/main" id="{2790888C-4D2D-4ADE-8A6C-B73B1D40E79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956425" y="230981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04798CB-7D14-4AF2-B434-68FEA7DCE17C}" type="datetime'''''''''''''''''''''''''''''''''2''''''1'''''''">
              <a:rPr lang="en-US" altLang="en-US" smtClean="0">
                <a:solidFill>
                  <a:srgbClr val="C30C3E"/>
                </a:solidFill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US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156" name="Text Placeholder 13">
            <a:extLst>
              <a:ext uri="{FF2B5EF4-FFF2-40B4-BE49-F238E27FC236}">
                <a16:creationId xmlns:a16="http://schemas.microsoft.com/office/drawing/2014/main" id="{CB0EF61D-97EA-40B2-8ACB-033B414ABF63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727825" y="3078163"/>
            <a:ext cx="703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ED31F4C-E8F7-441D-A6D0-EB94F1825AAB}" type="datetime'''K''e''''d''ou''''''''''''''''''''g''''ou'''">
              <a:rPr lang="en-US" altLang="en-US" sz="1200" smtClean="0">
                <a:cs typeface="+mn-cs"/>
              </a:rPr>
              <a:pPr/>
              <a:t>Kedougou</a:t>
            </a:fld>
            <a:endParaRPr lang="en-US" sz="1200" dirty="0">
              <a:cs typeface="+mn-cs"/>
            </a:endParaRPr>
          </a:p>
        </p:txBody>
      </p:sp>
      <p:sp>
        <p:nvSpPr>
          <p:cNvPr id="572" name="Text Placeholder 13">
            <a:extLst>
              <a:ext uri="{FF2B5EF4-FFF2-40B4-BE49-F238E27FC236}">
                <a16:creationId xmlns:a16="http://schemas.microsoft.com/office/drawing/2014/main" id="{F17A728E-93B3-40F2-B6C1-B6A9534AF99C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974013" y="210661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014A9CB-19D8-40DB-9418-C170543EC15B}" type="datetime'''''''''''1''''''''8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/>
              <a:t>18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91" name="Text Placeholder 13">
            <a:extLst>
              <a:ext uri="{FF2B5EF4-FFF2-40B4-BE49-F238E27FC236}">
                <a16:creationId xmlns:a16="http://schemas.microsoft.com/office/drawing/2014/main" id="{8105EA53-1045-4F05-8971-C157FDA6A0F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894138" y="3078163"/>
            <a:ext cx="5334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BAAF90-3629-48DC-B5A0-E9F231C9F1EE}" type="datetime'K''''af''''''''''''''''f''''''''''r''''''in''e'''''">
              <a:rPr lang="en-US" altLang="en-US" sz="1200" smtClean="0">
                <a:cs typeface="+mn-cs"/>
              </a:rPr>
              <a:pPr/>
              <a:t>Kaffrine</a:t>
            </a:fld>
            <a:endParaRPr lang="en-US" sz="1200" dirty="0">
              <a:cs typeface="+mn-cs"/>
            </a:endParaRPr>
          </a:p>
        </p:txBody>
      </p:sp>
      <p:sp useBgFill="1">
        <p:nvSpPr>
          <p:cNvPr id="25" name="Text Placeholder 13">
            <a:extLst>
              <a:ext uri="{FF2B5EF4-FFF2-40B4-BE49-F238E27FC236}">
                <a16:creationId xmlns:a16="http://schemas.microsoft.com/office/drawing/2014/main" id="{DBBB55E3-F52F-4CEE-B427-EF03B3B2585F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24413" y="2392363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8CFADB-9252-4BE0-9822-08A0AE383ED2}" type="datetime'''''''''''''2''''''2''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2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06" name="Text Placeholder 13">
            <a:extLst>
              <a:ext uri="{FF2B5EF4-FFF2-40B4-BE49-F238E27FC236}">
                <a16:creationId xmlns:a16="http://schemas.microsoft.com/office/drawing/2014/main" id="{74D5813B-3108-4BDB-AF6C-C3AD07DC0007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011738" y="208121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D62EA35-B595-48DF-A5BE-E3F2894B0315}" type="datetime'''''''''3''''''''''''5'''''">
              <a:rPr lang="en-US" altLang="en-US" smtClean="0">
                <a:solidFill>
                  <a:srgbClr val="C30C3E"/>
                </a:solidFill>
                <a:latin typeface="+mn-lt"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5</a:t>
            </a:fld>
            <a:endParaRPr lang="en-US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5" name="Text Placeholder 13">
            <a:extLst>
              <a:ext uri="{FF2B5EF4-FFF2-40B4-BE49-F238E27FC236}">
                <a16:creationId xmlns:a16="http://schemas.microsoft.com/office/drawing/2014/main" id="{AAF0E31D-6CB7-4A6E-B76C-FE0F7933DAC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849813" y="3078163"/>
            <a:ext cx="5683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E585E9-F474-454E-BA62-8D7A91062509}" type="datetime'''''''''''S''e''''''d''''''''''h''''''''i''ou'''">
              <a:rPr lang="en-US" altLang="en-US" sz="1200" smtClean="0">
                <a:cs typeface="+mn-cs"/>
              </a:rPr>
              <a:pPr/>
              <a:t>Sedhiou</a:t>
            </a:fld>
            <a:endParaRPr lang="en-US" sz="1200" dirty="0">
              <a:cs typeface="+mn-cs"/>
            </a:endParaRPr>
          </a:p>
        </p:txBody>
      </p:sp>
      <p:sp>
        <p:nvSpPr>
          <p:cNvPr id="52" name="Text Placeholder 13">
            <a:extLst>
              <a:ext uri="{FF2B5EF4-FFF2-40B4-BE49-F238E27FC236}">
                <a16:creationId xmlns:a16="http://schemas.microsoft.com/office/drawing/2014/main" id="{722AE492-857E-469D-8A4E-1DD3526DB7C8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853113" y="2374900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F816EA-D525-4BEB-ACD5-96BC2571B6E5}" type="datetime'''''2''''''''''''''''''''''''''''''1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1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158" name="Text Placeholder 13">
            <a:extLst>
              <a:ext uri="{FF2B5EF4-FFF2-40B4-BE49-F238E27FC236}">
                <a16:creationId xmlns:a16="http://schemas.microsoft.com/office/drawing/2014/main" id="{9EB48939-434F-498C-B927-27CD977D32C5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696075" y="2484438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0C60284-C373-4686-A4E7-AD3A9065299F}" type="datetime'''''1''''''''''''''7''''''''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7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92" name="Text Placeholder 13">
            <a:extLst>
              <a:ext uri="{FF2B5EF4-FFF2-40B4-BE49-F238E27FC236}">
                <a16:creationId xmlns:a16="http://schemas.microsoft.com/office/drawing/2014/main" id="{A4380C81-37DA-42F0-82B7-162425932397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029075" y="2460625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4536BBB-1541-41BE-80F8-F75EF2521B90}" type="datetime'''''''''''''1''''''8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8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6" name="Text Placeholder 13">
            <a:extLst>
              <a:ext uri="{FF2B5EF4-FFF2-40B4-BE49-F238E27FC236}">
                <a16:creationId xmlns:a16="http://schemas.microsoft.com/office/drawing/2014/main" id="{310482F9-CC41-440A-9348-9C00F1AFF19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340600" y="2014538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082344-158F-4A97-807F-CB62D9C16449}" type="datetime'''''''-''''''''''''''''2''''''''''''''''''''%'">
              <a:rPr lang="en-US" altLang="en-US" sz="1400" b="1" smtClean="0">
                <a:effectLst/>
                <a:cs typeface="+mn-cs"/>
              </a:rPr>
              <a:pPr/>
              <a:t>-2%</a:t>
            </a:fld>
            <a:endParaRPr lang="en-US" sz="1400" b="1" dirty="0">
              <a:cs typeface="+mn-cs"/>
            </a:endParaRPr>
          </a:p>
        </p:txBody>
      </p:sp>
      <p:sp>
        <p:nvSpPr>
          <p:cNvPr id="104" name="Text Placeholder 13">
            <a:extLst>
              <a:ext uri="{FF2B5EF4-FFF2-40B4-BE49-F238E27FC236}">
                <a16:creationId xmlns:a16="http://schemas.microsoft.com/office/drawing/2014/main" id="{0EC6A27B-59EC-4D0B-B08A-B1F8833A198A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294688" y="2236788"/>
            <a:ext cx="649288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AED09D-1AF1-4E7E-A3DC-143A25779E49}" type="datetime'''''''''''''''''''''+''''''''''''''''''5''''''''3''''''%'''">
              <a:rPr lang="en-US" altLang="en-US" sz="1400" b="1" smtClean="0">
                <a:effectLst/>
                <a:cs typeface="+mn-cs"/>
              </a:rPr>
              <a:pPr/>
              <a:t>+53%</a:t>
            </a:fld>
            <a:endParaRPr lang="en-US" sz="1400" b="1" dirty="0">
              <a:cs typeface="+mn-cs"/>
            </a:endParaRPr>
          </a:p>
        </p:txBody>
      </p:sp>
      <p:sp>
        <p:nvSpPr>
          <p:cNvPr id="593" name="Text Placeholder 13">
            <a:extLst>
              <a:ext uri="{FF2B5EF4-FFF2-40B4-BE49-F238E27FC236}">
                <a16:creationId xmlns:a16="http://schemas.microsoft.com/office/drawing/2014/main" id="{92E6580D-97F0-4DC3-997F-6898DE69BB89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482975" y="2159000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DBF5E25-8843-4454-AB50-164F15A8AD04}" type="datetime'''''''''''''''''-''''''''''''''61''''''''''''''%'''''">
              <a:rPr lang="en-US" altLang="en-US" sz="1400" b="1" smtClean="0">
                <a:effectLst/>
                <a:cs typeface="+mn-cs"/>
              </a:rPr>
              <a:pPr/>
              <a:t>-61%</a:t>
            </a:fld>
            <a:endParaRPr lang="en-US" sz="1400" b="1" dirty="0">
              <a:cs typeface="+mn-cs"/>
            </a:endParaRPr>
          </a:p>
        </p:txBody>
      </p:sp>
      <p:sp>
        <p:nvSpPr>
          <p:cNvPr id="603" name="Text Placeholder 13">
            <a:extLst>
              <a:ext uri="{FF2B5EF4-FFF2-40B4-BE49-F238E27FC236}">
                <a16:creationId xmlns:a16="http://schemas.microsoft.com/office/drawing/2014/main" id="{8BB3D3B7-4FBD-4B5D-89C8-2B62B4F53511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4456113" y="2636838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B24575-B2CA-42BA-B348-272790321902}" type="datetime'''-''''3''''''''''''''''''''''''6''''%'''''''''''''''''">
              <a:rPr lang="en-US" altLang="en-US" sz="1400" b="1" smtClean="0">
                <a:effectLst/>
                <a:cs typeface="+mn-cs"/>
              </a:rPr>
              <a:pPr/>
              <a:t>-36%</a:t>
            </a:fld>
            <a:endParaRPr lang="en-US" sz="1400" b="1" dirty="0"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C12A3698-3EDA-4ECC-AC71-6AE63801CA41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9426575" y="2081213"/>
            <a:ext cx="250825" cy="187325"/>
          </a:xfrm>
          <a:prstGeom prst="rect">
            <a:avLst/>
          </a:prstGeom>
          <a:solidFill>
            <a:srgbClr val="9696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66" name="Straight Connector 565">
            <a:extLst>
              <a:ext uri="{FF2B5EF4-FFF2-40B4-BE49-F238E27FC236}">
                <a16:creationId xmlns:a16="http://schemas.microsoft.com/office/drawing/2014/main" id="{AAF72FD3-9BAE-4114-84BA-8250A34B817D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9396413" y="1384300"/>
            <a:ext cx="1588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3" name="Rectangle 62">
            <a:extLst>
              <a:ext uri="{FF2B5EF4-FFF2-40B4-BE49-F238E27FC236}">
                <a16:creationId xmlns:a16="http://schemas.microsoft.com/office/drawing/2014/main" id="{442F87F8-B551-4541-A60E-83478F0E0EF1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9426575" y="1817688"/>
            <a:ext cx="250825" cy="187325"/>
          </a:xfrm>
          <a:prstGeom prst="rect">
            <a:avLst/>
          </a:prstGeom>
          <a:solidFill>
            <a:srgbClr val="FFC90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3B5D37BC-5359-43E8-952E-CC3BCEB3B277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9426575" y="1554163"/>
            <a:ext cx="250825" cy="18732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80" name="Straight Connector 179">
            <a:extLst>
              <a:ext uri="{FF2B5EF4-FFF2-40B4-BE49-F238E27FC236}">
                <a16:creationId xmlns:a16="http://schemas.microsoft.com/office/drawing/2014/main" id="{5D961BD3-B03E-4D24-8D7E-89AB87B70849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9609138" y="1384300"/>
            <a:ext cx="1588" cy="0"/>
          </a:xfrm>
          <a:prstGeom prst="line">
            <a:avLst/>
          </a:prstGeom>
          <a:ln w="38100" cap="rnd" cmpd="sng" algn="ctr">
            <a:solidFill>
              <a:srgbClr val="C30C3E"/>
            </a:solidFill>
            <a:prstDash val="sysDot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ectangle 65">
            <a:extLst>
              <a:ext uri="{FF2B5EF4-FFF2-40B4-BE49-F238E27FC236}">
                <a16:creationId xmlns:a16="http://schemas.microsoft.com/office/drawing/2014/main" id="{1D0E6BAB-5168-4C29-9C40-0C91948F2DE2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9426575" y="2344738"/>
            <a:ext cx="250825" cy="187325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4FB8D1E4-A9F3-491D-BEAE-516B68E1336E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9426575" y="2608263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7" name="Oval 566">
            <a:extLst>
              <a:ext uri="{FF2B5EF4-FFF2-40B4-BE49-F238E27FC236}">
                <a16:creationId xmlns:a16="http://schemas.microsoft.com/office/drawing/2014/main" id="{B16233C3-BD67-4B73-953D-30F28EAC8125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9458325" y="1339850"/>
            <a:ext cx="88900" cy="88900"/>
          </a:xfrm>
          <a:prstGeom prst="ellipse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2" name="Text Placeholder 13">
            <a:extLst>
              <a:ext uri="{FF2B5EF4-FFF2-40B4-BE49-F238E27FC236}">
                <a16:creationId xmlns:a16="http://schemas.microsoft.com/office/drawing/2014/main" id="{6DCC26CE-E762-4D9D-A440-417DDB28DDC1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9728200" y="1285875"/>
            <a:ext cx="1619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4E4F76A-EE3E-4017-B701-B4F5369F03A9}" type="datetime'C''o''u''t''s ''''D''''''''I S''RM''''''''''''N''''''I''''A-N'">
              <a:rPr lang="en-US" altLang="en-US" sz="1400" smtClean="0">
                <a:cs typeface="+mn-cs"/>
              </a:rPr>
              <a:pPr/>
              <a:t>Couts DI SRMNIA-N</a:t>
            </a:fld>
            <a:endParaRPr lang="en-US" sz="1400" dirty="0">
              <a:cs typeface="+mn-cs"/>
            </a:endParaRPr>
          </a:p>
        </p:txBody>
      </p:sp>
      <p:sp>
        <p:nvSpPr>
          <p:cNvPr id="70" name="Text Placeholder 13">
            <a:extLst>
              <a:ext uri="{FF2B5EF4-FFF2-40B4-BE49-F238E27FC236}">
                <a16:creationId xmlns:a16="http://schemas.microsoft.com/office/drawing/2014/main" id="{1766AB94-9F17-4252-A1EB-410B098A071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728200" y="1549400"/>
            <a:ext cx="1065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1F5722B-7FA5-43C0-85F0-23ACD8644095}" type="datetime'''''''S''ect''''''e''''ur ''P''''''''''''r''''''''''iv''é'''">
              <a:rPr lang="fr-FR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71" name="Text Placeholder 13">
            <a:extLst>
              <a:ext uri="{FF2B5EF4-FFF2-40B4-BE49-F238E27FC236}">
                <a16:creationId xmlns:a16="http://schemas.microsoft.com/office/drawing/2014/main" id="{B48C6C7D-A437-4DA2-AC44-33CBD87E3681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9728200" y="1812925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1B15DFF-3F0C-4497-A27F-7AB4072F57FD}" type="datetime'M''''''é''n''''''''''''''''''''''''''''''a''''ges'''">
              <a:rPr lang="fr-FR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69" name="Text Placeholder 13">
            <a:extLst>
              <a:ext uri="{FF2B5EF4-FFF2-40B4-BE49-F238E27FC236}">
                <a16:creationId xmlns:a16="http://schemas.microsoft.com/office/drawing/2014/main" id="{C7FC1FF9-EDDC-44B8-85A3-65E540419F6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728200" y="2076450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684DED-8C58-493F-A8F7-E2454D3B89C6}" type="datetime'''Col''le''cti''vit''és t''e''rr''i''''''''''''tori''a''le''s'">
              <a:rPr lang="en-US" altLang="en-US" sz="1400" smtClean="0">
                <a:cs typeface="+mn-cs"/>
              </a:rPr>
              <a:pPr/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72" name="Text Placeholder 13">
            <a:extLst>
              <a:ext uri="{FF2B5EF4-FFF2-40B4-BE49-F238E27FC236}">
                <a16:creationId xmlns:a16="http://schemas.microsoft.com/office/drawing/2014/main" id="{6A090CC5-16B4-4D17-9CEA-836C065BF9FC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728200" y="2339975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75EE6B-A512-4130-B5C8-B410B2E17CED}" type="datetime'''P''''T''''F'''''''''''''''''''''''''''''''''''''''''">
              <a:rPr lang="fr-FR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id="{555229DE-27B7-4C69-80F2-5FCF9641C0B0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728200" y="2603500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FC63B63-FC48-4C57-82A1-D9EE34793828}" type="datetime'''''E''''''''''''t''''''''''''a''t'''''''''">
              <a:rPr lang="fr-FR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236" name="Chart 235">
            <a:extLst>
              <a:ext uri="{FF2B5EF4-FFF2-40B4-BE49-F238E27FC236}">
                <a16:creationId xmlns:a16="http://schemas.microsoft.com/office/drawing/2014/main" id="{3EDAB345-F344-4FE0-BAA3-445D312D0B9F}"/>
              </a:ext>
            </a:extLst>
          </p:cNvPr>
          <p:cNvGraphicFramePr/>
          <p:nvPr>
            <p:custDataLst>
              <p:tags r:id="rId53"/>
            </p:custDataLst>
            <p:extLst>
              <p:ext uri="{D42A27DB-BD31-4B8C-83A1-F6EECF244321}">
                <p14:modId xmlns:p14="http://schemas.microsoft.com/office/powerpoint/2010/main" val="2002226482"/>
              </p:ext>
            </p:extLst>
          </p:nvPr>
        </p:nvGraphicFramePr>
        <p:xfrm>
          <a:off x="3592513" y="3457575"/>
          <a:ext cx="5027612" cy="1446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5"/>
          </a:graphicData>
        </a:graphic>
      </p:graphicFrame>
      <p:sp>
        <p:nvSpPr>
          <p:cNvPr id="269" name="Text Placeholder 13">
            <a:extLst>
              <a:ext uri="{FF2B5EF4-FFF2-40B4-BE49-F238E27FC236}">
                <a16:creationId xmlns:a16="http://schemas.microsoft.com/office/drawing/2014/main" id="{35A7BC3A-37DF-4605-8969-1DBD8670A221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3400425" y="4714875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3616EB-B2B9-49E3-B140-1E2C3918ED09}" type="datetime'''''''''''''''''''''0''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512" name="Text Placeholder 13">
            <a:extLst>
              <a:ext uri="{FF2B5EF4-FFF2-40B4-BE49-F238E27FC236}">
                <a16:creationId xmlns:a16="http://schemas.microsoft.com/office/drawing/2014/main" id="{43D96883-2F27-4C60-9638-CD8BBD3B0BAF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302000" y="34337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37CE1AE-E651-407D-B1CD-10ABDAF22FE6}" type="datetime'8''''''''''''''''''0''''''''''''''''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US" sz="1400" dirty="0">
              <a:cs typeface="+mn-cs"/>
            </a:endParaRPr>
          </a:p>
        </p:txBody>
      </p:sp>
      <p:sp>
        <p:nvSpPr>
          <p:cNvPr id="271" name="Text Placeholder 13">
            <a:extLst>
              <a:ext uri="{FF2B5EF4-FFF2-40B4-BE49-F238E27FC236}">
                <a16:creationId xmlns:a16="http://schemas.microsoft.com/office/drawing/2014/main" id="{C6F8C0EF-B242-4633-9CBD-9C55B6AFD6D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3302000" y="407511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CE38E60-C2E1-4E4D-BD8C-49908F8E2942}" type="datetime'''4''''''''''''''''''''''''''''''''0'''''''''''''''''''''">
              <a:rPr lang="en-US" altLang="en-US" sz="1400" smtClean="0">
                <a:cs typeface="+mn-cs"/>
              </a:rPr>
              <a:pPr/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276" name="Text Placeholder 13">
            <a:extLst>
              <a:ext uri="{FF2B5EF4-FFF2-40B4-BE49-F238E27FC236}">
                <a16:creationId xmlns:a16="http://schemas.microsoft.com/office/drawing/2014/main" id="{161D320A-6659-49F3-B36E-C13A5A80D6D4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302000" y="4394200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F9B66D-0671-4932-BBDA-7CA010B0D99C}" type="datetime'''''''''''2''''''''''''0'''''''''''''">
              <a:rPr lang="en-US" altLang="en-US" sz="1400" smtClean="0">
                <a:cs typeface="+mn-cs"/>
              </a:rPr>
              <a:pPr/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511" name="Text Placeholder 13">
            <a:extLst>
              <a:ext uri="{FF2B5EF4-FFF2-40B4-BE49-F238E27FC236}">
                <a16:creationId xmlns:a16="http://schemas.microsoft.com/office/drawing/2014/main" id="{6254C6C8-8712-4628-9B63-FC4F9B94E3E8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3302000" y="37544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D3F7DDE3-63D2-4BA8-83DF-4A7B4BEEC16C}" type="datetime'''''''''''''''''''''''''''''''6''0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US" sz="1400" dirty="0">
              <a:cs typeface="+mn-cs"/>
            </a:endParaRPr>
          </a:p>
        </p:txBody>
      </p:sp>
      <p:cxnSp>
        <p:nvCxnSpPr>
          <p:cNvPr id="689" name="Straight Connector 688">
            <a:extLst>
              <a:ext uri="{FF2B5EF4-FFF2-40B4-BE49-F238E27FC236}">
                <a16:creationId xmlns:a16="http://schemas.microsoft.com/office/drawing/2014/main" id="{0B4527F0-584D-4645-AE54-B99CCA39CAC1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5700713" y="4391025"/>
            <a:ext cx="0" cy="2254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5" name="Straight Connector 664">
            <a:extLst>
              <a:ext uri="{FF2B5EF4-FFF2-40B4-BE49-F238E27FC236}">
                <a16:creationId xmlns:a16="http://schemas.microsoft.com/office/drawing/2014/main" id="{629CD133-38E3-484C-BB9F-3A68821B6D06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>
            <a:off x="4079875" y="4197350"/>
            <a:ext cx="0" cy="3222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9" name="Straight Connector 678">
            <a:extLst>
              <a:ext uri="{FF2B5EF4-FFF2-40B4-BE49-F238E27FC236}">
                <a16:creationId xmlns:a16="http://schemas.microsoft.com/office/drawing/2014/main" id="{14BCEFC1-6C00-4774-B4EB-550A794AF2E9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4891088" y="4254500"/>
            <a:ext cx="0" cy="2127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24" name="Text Placeholder 13">
            <a:extLst>
              <a:ext uri="{FF2B5EF4-FFF2-40B4-BE49-F238E27FC236}">
                <a16:creationId xmlns:a16="http://schemas.microsoft.com/office/drawing/2014/main" id="{0F6F6323-0993-4DB9-A31C-7F0C06A5ED74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4768850" y="388302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522AEC-AD1B-4A10-BC1A-8EE378137C1A}" type="datetime'''''''''''''3''''''''''''''''''''''''''''''''''''''''''''5'''">
              <a:rPr lang="en-US" altLang="en-US" b="1" smtClean="0">
                <a:solidFill>
                  <a:schemeClr val="accent2"/>
                </a:solidFill>
                <a:latin typeface="+mn-lt"/>
                <a:cs typeface="+mn-cs"/>
              </a:rPr>
              <a:pPr/>
              <a:t>35</a:t>
            </a:fld>
            <a:endParaRPr lang="en-US" b="1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425" name="Text Placeholder 13">
            <a:extLst>
              <a:ext uri="{FF2B5EF4-FFF2-40B4-BE49-F238E27FC236}">
                <a16:creationId xmlns:a16="http://schemas.microsoft.com/office/drawing/2014/main" id="{02B13798-2F50-43F3-B0A8-8ED636E8E45A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4699000" y="4872038"/>
            <a:ext cx="3841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5DDE9BF-1242-4BA0-AA83-D973262DBB3C}" type="datetime'T''''''''h''''i''''''e''''''''''''''''''s'''''''''''''''">
              <a:rPr lang="en-US" altLang="en-US" sz="1200" smtClean="0">
                <a:cs typeface="+mn-cs"/>
              </a:rPr>
              <a:pPr/>
              <a:t>Thies</a:t>
            </a:fld>
            <a:endParaRPr lang="en-US" sz="1200" dirty="0">
              <a:cs typeface="+mn-cs"/>
            </a:endParaRPr>
          </a:p>
        </p:txBody>
      </p:sp>
      <p:sp>
        <p:nvSpPr>
          <p:cNvPr id="421" name="Text Placeholder 13">
            <a:extLst>
              <a:ext uri="{FF2B5EF4-FFF2-40B4-BE49-F238E27FC236}">
                <a16:creationId xmlns:a16="http://schemas.microsoft.com/office/drawing/2014/main" id="{840ACB32-AF7D-415D-BC8D-2CAAE4D237FC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792538" y="4872038"/>
            <a:ext cx="576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30BC84-27BD-42AA-8208-0E8DAC41E742}" type="datetime'''''Di''ou''''''''''''''r''''b''''''e''''''''''l'''''''''''">
              <a:rPr lang="en-US" altLang="en-US" sz="1200" smtClean="0">
                <a:cs typeface="+mn-cs"/>
              </a:rPr>
              <a:pPr/>
              <a:t>Diourbel</a:t>
            </a:fld>
            <a:endParaRPr lang="en-US" sz="1200" dirty="0">
              <a:cs typeface="+mn-cs"/>
            </a:endParaRPr>
          </a:p>
        </p:txBody>
      </p:sp>
      <p:sp>
        <p:nvSpPr>
          <p:cNvPr id="623" name="Text Placeholder 13">
            <a:extLst>
              <a:ext uri="{FF2B5EF4-FFF2-40B4-BE49-F238E27FC236}">
                <a16:creationId xmlns:a16="http://schemas.microsoft.com/office/drawing/2014/main" id="{4FB7129A-7BEF-4909-81DF-CC81B10C0ED0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3957638" y="38258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787D1B-C058-4FBE-9A8E-22030DD34294}" type="datetime'''''''''''''''''''''''3''''''''''''''''''''''''9'''''''''''">
              <a:rPr lang="en-US" altLang="en-US" b="1" smtClean="0">
                <a:solidFill>
                  <a:schemeClr val="accent2"/>
                </a:solidFill>
                <a:latin typeface="+mn-lt"/>
                <a:cs typeface="+mn-cs"/>
              </a:rPr>
              <a:pPr/>
              <a:t>39</a:t>
            </a:fld>
            <a:endParaRPr lang="en-US" b="1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171" name="Text Placeholder 13">
            <a:extLst>
              <a:ext uri="{FF2B5EF4-FFF2-40B4-BE49-F238E27FC236}">
                <a16:creationId xmlns:a16="http://schemas.microsoft.com/office/drawing/2014/main" id="{7DB58E3A-27E9-4F90-B61F-BE434CCB1BF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7083425" y="4872038"/>
            <a:ext cx="477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2E191AE-6259-47D9-A4C0-63ABA4AD1004}" type="datetime'''M''''a''''''''''''''''t''''''''''''''''''a''''''m'''''">
              <a:rPr lang="en-US" altLang="en-US" sz="1200" smtClean="0">
                <a:cs typeface="+mn-cs"/>
              </a:rPr>
              <a:pPr/>
              <a:t>Matam</a:t>
            </a:fld>
            <a:endParaRPr lang="en-US" sz="1200" dirty="0">
              <a:cs typeface="+mn-cs"/>
            </a:endParaRPr>
          </a:p>
        </p:txBody>
      </p:sp>
      <p:sp>
        <p:nvSpPr>
          <p:cNvPr id="429" name="Text Placeholder 13">
            <a:extLst>
              <a:ext uri="{FF2B5EF4-FFF2-40B4-BE49-F238E27FC236}">
                <a16:creationId xmlns:a16="http://schemas.microsoft.com/office/drawing/2014/main" id="{C3723F94-BCC3-4398-AAC7-66D2D60A0EAA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424488" y="4872038"/>
            <a:ext cx="552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07F1CCB-5662-4AE5-8196-957BECA4BB2D}" type="datetime'''''K''a''''ol''''''''''''''''a''''''c''k'">
              <a:rPr lang="en-US" altLang="en-US" sz="1200" smtClean="0">
                <a:cs typeface="+mn-cs"/>
              </a:rPr>
              <a:pPr/>
              <a:t>Kaolack</a:t>
            </a:fld>
            <a:endParaRPr lang="en-US" sz="1200" dirty="0">
              <a:cs typeface="+mn-cs"/>
            </a:endParaRPr>
          </a:p>
        </p:txBody>
      </p:sp>
      <p:sp>
        <p:nvSpPr>
          <p:cNvPr id="625" name="Text Placeholder 13">
            <a:extLst>
              <a:ext uri="{FF2B5EF4-FFF2-40B4-BE49-F238E27FC236}">
                <a16:creationId xmlns:a16="http://schemas.microsoft.com/office/drawing/2014/main" id="{B45B9B42-30D1-449A-A2D2-909652E2659A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578475" y="4019550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0DA21B8-802F-4576-B0E0-43DDF3F0BAAF}" type="datetime'''''''''''''''''''''''''''''''''27'''''''''''''''''''">
              <a:rPr lang="en-US" altLang="en-US" b="1" smtClean="0">
                <a:solidFill>
                  <a:schemeClr val="accent2"/>
                </a:solidFill>
                <a:latin typeface="+mn-lt"/>
                <a:cs typeface="+mn-cs"/>
              </a:rPr>
              <a:pPr/>
              <a:t>27</a:t>
            </a:fld>
            <a:endParaRPr lang="en-US" b="1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626" name="Text Placeholder 13">
            <a:extLst>
              <a:ext uri="{FF2B5EF4-FFF2-40B4-BE49-F238E27FC236}">
                <a16:creationId xmlns:a16="http://schemas.microsoft.com/office/drawing/2014/main" id="{849ED5DA-11EA-4212-9725-B2686367C733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6389688" y="4121150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9C8651-49EB-4D0B-BAF2-D7BB795D7F4E}" type="datetime'''''''2''''''''''''''''''''''''''''0'''''">
              <a:rPr lang="en-US" altLang="en-US" b="1" smtClean="0">
                <a:solidFill>
                  <a:schemeClr val="accent2"/>
                </a:solidFill>
                <a:latin typeface="+mn-lt"/>
                <a:cs typeface="+mn-cs"/>
              </a:rPr>
              <a:pPr/>
              <a:t>20</a:t>
            </a:fld>
            <a:endParaRPr lang="en-US" b="1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433" name="Text Placeholder 13">
            <a:extLst>
              <a:ext uri="{FF2B5EF4-FFF2-40B4-BE49-F238E27FC236}">
                <a16:creationId xmlns:a16="http://schemas.microsoft.com/office/drawing/2014/main" id="{A47E50CE-8AA9-4853-9B58-0DAAD237521E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6151563" y="4872038"/>
            <a:ext cx="720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35DB34-D21C-4C1A-BCA6-E9CD50176DEE}" type="datetime'Z''''''''''''''igu''''''i''n''''''ch''''''o''''''r'''''''">
              <a:rPr lang="en-US" altLang="en-US" sz="1200" smtClean="0">
                <a:cs typeface="+mn-cs"/>
              </a:rPr>
              <a:pPr/>
              <a:t>Ziguinchor</a:t>
            </a:fld>
            <a:endParaRPr lang="en-US" sz="1200" dirty="0">
              <a:cs typeface="+mn-cs"/>
            </a:endParaRPr>
          </a:p>
        </p:txBody>
      </p:sp>
      <p:sp>
        <p:nvSpPr>
          <p:cNvPr id="173" name="Text Placeholder 13">
            <a:extLst>
              <a:ext uri="{FF2B5EF4-FFF2-40B4-BE49-F238E27FC236}">
                <a16:creationId xmlns:a16="http://schemas.microsoft.com/office/drawing/2014/main" id="{BD6FACBE-774B-4663-8F2D-892B1E987C38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7199313" y="4125913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D1F5B1F-ABBB-4444-89F0-D8460B3FC733}" type="datetime'2''''''''''''''''''''''''''0'">
              <a:rPr lang="en-US" altLang="en-US" smtClean="0">
                <a:solidFill>
                  <a:schemeClr val="accent2"/>
                </a:solidFill>
                <a:latin typeface="+mn-lt"/>
                <a:cs typeface="+mn-cs"/>
              </a:rPr>
              <a:pPr/>
              <a:t>20</a:t>
            </a:fld>
            <a:endParaRPr lang="en-US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627" name="Text Placeholder 13">
            <a:extLst>
              <a:ext uri="{FF2B5EF4-FFF2-40B4-BE49-F238E27FC236}">
                <a16:creationId xmlns:a16="http://schemas.microsoft.com/office/drawing/2014/main" id="{D8B3FB8F-6F6E-4C25-B5C5-B36C8D91A0CE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8010525" y="4167188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2DEB71-7448-4171-805A-672198CE27E0}" type="datetime'''''''''''''''''''''''''''''''''''''1''''7'''''">
              <a:rPr lang="en-US" altLang="en-US" b="1" smtClean="0">
                <a:solidFill>
                  <a:schemeClr val="accent2"/>
                </a:solidFill>
                <a:latin typeface="+mn-lt"/>
                <a:cs typeface="+mn-cs"/>
              </a:rPr>
              <a:pPr/>
              <a:t>17</a:t>
            </a:fld>
            <a:endParaRPr lang="en-US" b="1" dirty="0">
              <a:solidFill>
                <a:schemeClr val="accent2"/>
              </a:solidFill>
              <a:latin typeface="+mn-lt"/>
              <a:cs typeface="+mn-cs"/>
            </a:endParaRPr>
          </a:p>
        </p:txBody>
      </p:sp>
      <p:sp>
        <p:nvSpPr>
          <p:cNvPr id="291" name="Text Placeholder 13">
            <a:extLst>
              <a:ext uri="{FF2B5EF4-FFF2-40B4-BE49-F238E27FC236}">
                <a16:creationId xmlns:a16="http://schemas.microsoft.com/office/drawing/2014/main" id="{F3078BF7-B19E-4592-8496-1708B44E1548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7923213" y="4872038"/>
            <a:ext cx="419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EB2880D-BEE4-4A13-9E90-D13D64248ACF}" type="datetime'''''''''''''''''''''''Fa''''''''''t''''''i''''ck'''''''">
              <a:rPr lang="en-US" altLang="en-US" sz="1200" smtClean="0">
                <a:cs typeface="+mn-cs"/>
              </a:rPr>
              <a:pPr/>
              <a:t>Fatick</a:t>
            </a:fld>
            <a:endParaRPr lang="en-US" sz="1200" dirty="0">
              <a:cs typeface="+mn-cs"/>
            </a:endParaRPr>
          </a:p>
        </p:txBody>
      </p:sp>
      <p:sp useBgFill="1">
        <p:nvSpPr>
          <p:cNvPr id="434" name="Text Placeholder 13">
            <a:extLst>
              <a:ext uri="{FF2B5EF4-FFF2-40B4-BE49-F238E27FC236}">
                <a16:creationId xmlns:a16="http://schemas.microsoft.com/office/drawing/2014/main" id="{9F845206-9673-4A89-998C-8B9C3C1DD854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6129338" y="4271963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94ABA9-5268-4703-AE52-4959CB4C5A5E}" type="datetime'''''''''''''''''''''''''''1''''''''''''''''''''''7''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17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175" name="Text Placeholder 13">
            <a:extLst>
              <a:ext uri="{FF2B5EF4-FFF2-40B4-BE49-F238E27FC236}">
                <a16:creationId xmlns:a16="http://schemas.microsoft.com/office/drawing/2014/main" id="{C354868D-F1DD-4A67-9834-5DE8C2E25357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7011988" y="4398963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94DE41-CFC7-4A6F-95D9-25C8CDFED52D}" type="datetime'''''''''''''''''''''''1''0''''''''''''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10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422" name="Text Placeholder 13">
            <a:extLst>
              <a:ext uri="{FF2B5EF4-FFF2-40B4-BE49-F238E27FC236}">
                <a16:creationId xmlns:a16="http://schemas.microsoft.com/office/drawing/2014/main" id="{6718A338-A736-4544-ADC9-4C80FF6B8C72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3770313" y="4246563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631BC6E-7805-437F-B38D-77682F190F4B}" type="datetime'''''''''''1''''''''''''''''''''''''''''9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9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277" name="Text Placeholder 13">
            <a:extLst>
              <a:ext uri="{FF2B5EF4-FFF2-40B4-BE49-F238E27FC236}">
                <a16:creationId xmlns:a16="http://schemas.microsoft.com/office/drawing/2014/main" id="{E6961C21-EDEE-4A6E-A398-125CA639E0BB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7750175" y="4359275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5544DC-847A-4C8D-8FBB-2574048FA687}" type="datetime'''''''''''''''''''''1''''''''''2''''''''''''''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1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426" name="Text Placeholder 13">
            <a:extLst>
              <a:ext uri="{FF2B5EF4-FFF2-40B4-BE49-F238E27FC236}">
                <a16:creationId xmlns:a16="http://schemas.microsoft.com/office/drawing/2014/main" id="{E1579680-DEBB-450F-B67D-C77429E7DAC8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4581525" y="4194175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228E5E-38C2-45A1-98BA-D8812A4F215B}" type="datetime'''''''''''''2''''''''''''''''''''''''''''''2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22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430" name="Text Placeholder 13">
            <a:extLst>
              <a:ext uri="{FF2B5EF4-FFF2-40B4-BE49-F238E27FC236}">
                <a16:creationId xmlns:a16="http://schemas.microsoft.com/office/drawing/2014/main" id="{40D27C4C-A307-43D1-B3E4-BF8C6AE1A68F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gray">
          <a:xfrm>
            <a:off x="5391150" y="4343400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13EE28-8A82-4570-8993-74C4553278AE}" type="datetime'''''''''1''''''3''''''''''''''''''''''''''''''''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1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659" name="Text Placeholder 13">
            <a:extLst>
              <a:ext uri="{FF2B5EF4-FFF2-40B4-BE49-F238E27FC236}">
                <a16:creationId xmlns:a16="http://schemas.microsoft.com/office/drawing/2014/main" id="{8413D0A1-9267-43AE-896D-3D5B085FE8B1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3402013" y="4491038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7D5BD-1D55-46E6-832C-A60C09350A8E}" type="datetime'''-''''''''''''5''''''''''1''''''''''''''''%'''''''''''">
              <a:rPr lang="en-US" altLang="en-US" sz="1400" b="1" smtClean="0">
                <a:effectLst/>
                <a:cs typeface="+mn-cs"/>
              </a:rPr>
              <a:pPr/>
              <a:t>-51%</a:t>
            </a:fld>
            <a:endParaRPr lang="en-US" sz="1400" b="1" dirty="0">
              <a:cs typeface="+mn-cs"/>
            </a:endParaRPr>
          </a:p>
        </p:txBody>
      </p:sp>
      <p:sp>
        <p:nvSpPr>
          <p:cNvPr id="672" name="Text Placeholder 13">
            <a:extLst>
              <a:ext uri="{FF2B5EF4-FFF2-40B4-BE49-F238E27FC236}">
                <a16:creationId xmlns:a16="http://schemas.microsoft.com/office/drawing/2014/main" id="{23516293-88C8-405A-A9F2-7DE27DDF1C5A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4213225" y="4438650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161EB4-24B9-4047-8FC7-9DD4EA07A4ED}" type="datetime'''''''-''''''''''3''''''''''''7''%'''''''''''''''''">
              <a:rPr lang="en-US" altLang="en-US" sz="1400" b="1" smtClean="0">
                <a:effectLst/>
                <a:cs typeface="+mn-cs"/>
              </a:rPr>
              <a:pPr/>
              <a:t>-37%</a:t>
            </a:fld>
            <a:endParaRPr lang="en-US" sz="1400" b="1" dirty="0">
              <a:cs typeface="+mn-cs"/>
            </a:endParaRPr>
          </a:p>
        </p:txBody>
      </p:sp>
      <p:sp>
        <p:nvSpPr>
          <p:cNvPr id="684" name="Text Placeholder 13">
            <a:extLst>
              <a:ext uri="{FF2B5EF4-FFF2-40B4-BE49-F238E27FC236}">
                <a16:creationId xmlns:a16="http://schemas.microsoft.com/office/drawing/2014/main" id="{3507C62B-ED43-4BEB-B61C-448985AAAB62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022850" y="3717925"/>
            <a:ext cx="5873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C97061-7B96-4230-BD80-97E128BA8E72}" type="datetime'''''''''''''''-''''''''''5''''''''''''1''''''''''''''%'''''">
              <a:rPr lang="en-US" altLang="en-US" sz="1400" b="1" smtClean="0">
                <a:effectLst/>
                <a:cs typeface="+mn-cs"/>
              </a:rPr>
              <a:pPr/>
              <a:t>-51%</a:t>
            </a:fld>
            <a:endParaRPr lang="en-US" sz="1400" b="1" dirty="0">
              <a:cs typeface="+mn-cs"/>
            </a:endParaRPr>
          </a:p>
        </p:txBody>
      </p:sp>
      <p:graphicFrame>
        <p:nvGraphicFramePr>
          <p:cNvPr id="262" name="Chart 261">
            <a:extLst>
              <a:ext uri="{FF2B5EF4-FFF2-40B4-BE49-F238E27FC236}">
                <a16:creationId xmlns:a16="http://schemas.microsoft.com/office/drawing/2014/main" id="{5706525E-D9DA-4F75-917D-6521E626D07C}"/>
              </a:ext>
            </a:extLst>
          </p:cNvPr>
          <p:cNvGraphicFramePr/>
          <p:nvPr>
            <p:custDataLst>
              <p:tags r:id="rId83"/>
            </p:custDataLst>
            <p:extLst>
              <p:ext uri="{D42A27DB-BD31-4B8C-83A1-F6EECF244321}">
                <p14:modId xmlns:p14="http://schemas.microsoft.com/office/powerpoint/2010/main" val="4012217171"/>
              </p:ext>
            </p:extLst>
          </p:nvPr>
        </p:nvGraphicFramePr>
        <p:xfrm>
          <a:off x="3592513" y="5162550"/>
          <a:ext cx="5027612" cy="1450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6"/>
          </a:graphicData>
        </a:graphic>
      </p:graphicFrame>
      <p:sp>
        <p:nvSpPr>
          <p:cNvPr id="327" name="Text Placeholder 13">
            <a:extLst>
              <a:ext uri="{FF2B5EF4-FFF2-40B4-BE49-F238E27FC236}">
                <a16:creationId xmlns:a16="http://schemas.microsoft.com/office/drawing/2014/main" id="{FFBA4257-FA3E-4A96-81FF-E0C043752762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3400425" y="6424613"/>
            <a:ext cx="98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5868875-792C-4E0F-AC26-FA1881845580}" type="datetime'''''''''''''''''''''''''''''''''''''''''''''''''''''''''0'">
              <a:rPr lang="en-US" altLang="en-US" sz="1400" smtClean="0">
                <a:cs typeface="+mn-cs"/>
              </a:rPr>
              <a:pPr/>
              <a:t>0</a:t>
            </a:fld>
            <a:endParaRPr lang="en-US" sz="1400" dirty="0">
              <a:cs typeface="+mn-cs"/>
            </a:endParaRPr>
          </a:p>
        </p:txBody>
      </p:sp>
      <p:sp>
        <p:nvSpPr>
          <p:cNvPr id="331" name="Text Placeholder 13">
            <a:extLst>
              <a:ext uri="{FF2B5EF4-FFF2-40B4-BE49-F238E27FC236}">
                <a16:creationId xmlns:a16="http://schemas.microsoft.com/office/drawing/2014/main" id="{FD38A884-A65D-4895-9E13-114D45FA82C8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gray">
          <a:xfrm>
            <a:off x="3302000" y="599598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B7A6349-22E7-4DEA-8172-04E8500B2208}" type="datetime'''''''''''''''''''''''''''''''''''''2''''''''''''''0'''''''''">
              <a:rPr lang="en-US" altLang="en-US" sz="1400" smtClean="0">
                <a:cs typeface="+mn-cs"/>
              </a:rPr>
              <a:pPr/>
              <a:t>20</a:t>
            </a:fld>
            <a:endParaRPr lang="en-US" sz="1400" dirty="0">
              <a:cs typeface="+mn-cs"/>
            </a:endParaRPr>
          </a:p>
        </p:txBody>
      </p:sp>
      <p:sp>
        <p:nvSpPr>
          <p:cNvPr id="324" name="Text Placeholder 13">
            <a:extLst>
              <a:ext uri="{FF2B5EF4-FFF2-40B4-BE49-F238E27FC236}">
                <a16:creationId xmlns:a16="http://schemas.microsoft.com/office/drawing/2014/main" id="{3FBD33DF-8B6E-4B61-AF1D-5BF7E23CEFB6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gray">
          <a:xfrm>
            <a:off x="3302000" y="5567363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41116AF-E0E9-4778-A6A7-562DF1A85BDC}" type="datetime'''''''''''''''''4''''''''''''''''''''''''0'''''''''''''''">
              <a:rPr lang="en-US" altLang="en-US" sz="1400" smtClean="0">
                <a:cs typeface="+mn-cs"/>
              </a:rPr>
              <a:pPr/>
              <a:t>40</a:t>
            </a:fld>
            <a:endParaRPr lang="en-US" sz="1400" dirty="0">
              <a:cs typeface="+mn-cs"/>
            </a:endParaRPr>
          </a:p>
        </p:txBody>
      </p:sp>
      <p:sp>
        <p:nvSpPr>
          <p:cNvPr id="326" name="Text Placeholder 13">
            <a:extLst>
              <a:ext uri="{FF2B5EF4-FFF2-40B4-BE49-F238E27FC236}">
                <a16:creationId xmlns:a16="http://schemas.microsoft.com/office/drawing/2014/main" id="{2CAD6388-2BAC-43F3-9913-082415C1C96C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gray">
          <a:xfrm>
            <a:off x="3302000" y="5138738"/>
            <a:ext cx="1968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CC664B4-05E0-4D10-AB86-ACAF19F49A6E}" type="datetime'''''''''''''''''''''''''''''''''6''''0'''''''">
              <a:rPr lang="en-US" altLang="en-US" sz="1400" smtClean="0">
                <a:cs typeface="+mn-cs"/>
              </a:rPr>
              <a:pPr/>
              <a:t>60</a:t>
            </a:fld>
            <a:endParaRPr lang="en-US" sz="1400" dirty="0">
              <a:cs typeface="+mn-cs"/>
            </a:endParaRPr>
          </a:p>
        </p:txBody>
      </p:sp>
      <p:cxnSp>
        <p:nvCxnSpPr>
          <p:cNvPr id="707" name="Straight Connector 706">
            <a:extLst>
              <a:ext uri="{FF2B5EF4-FFF2-40B4-BE49-F238E27FC236}">
                <a16:creationId xmlns:a16="http://schemas.microsoft.com/office/drawing/2014/main" id="{A86CD21C-CCC2-4911-B3C1-BFA3FB9E8045}"/>
              </a:ext>
            </a:extLst>
          </p:cNvPr>
          <p:cNvCxnSpPr/>
          <p:nvPr>
            <p:custDataLst>
              <p:tags r:id="rId88"/>
            </p:custDataLst>
          </p:nvPr>
        </p:nvCxnSpPr>
        <p:spPr bwMode="auto">
          <a:xfrm>
            <a:off x="4484688" y="5289550"/>
            <a:ext cx="0" cy="984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5" name="Straight Connector 714">
            <a:extLst>
              <a:ext uri="{FF2B5EF4-FFF2-40B4-BE49-F238E27FC236}">
                <a16:creationId xmlns:a16="http://schemas.microsoft.com/office/drawing/2014/main" id="{338F9D3E-5E7B-462B-84F8-31C313C2B799}"/>
              </a:ext>
            </a:extLst>
          </p:cNvPr>
          <p:cNvCxnSpPr/>
          <p:nvPr>
            <p:custDataLst>
              <p:tags r:id="rId89"/>
            </p:custDataLst>
          </p:nvPr>
        </p:nvCxnSpPr>
        <p:spPr bwMode="auto">
          <a:xfrm>
            <a:off x="6105525" y="6043613"/>
            <a:ext cx="0" cy="4921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45" name="Text Placeholder 13">
            <a:extLst>
              <a:ext uri="{FF2B5EF4-FFF2-40B4-BE49-F238E27FC236}">
                <a16:creationId xmlns:a16="http://schemas.microsoft.com/office/drawing/2014/main" id="{58922CD7-1CCB-4413-B1E0-CB84498C0D9F}"/>
              </a:ext>
            </a:extLst>
          </p:cNvPr>
          <p:cNvSpPr>
            <a:spLocks noGrp="1"/>
          </p:cNvSpPr>
          <p:nvPr>
            <p:custDataLst>
              <p:tags r:id="rId90"/>
            </p:custDataLst>
          </p:nvPr>
        </p:nvSpPr>
        <p:spPr bwMode="gray">
          <a:xfrm>
            <a:off x="5983288" y="5672138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D65D2B0-C1F9-4862-AAC9-F774DCAD3519}" type="datetime'2''''''''''''''''3''''''''''''''''''''''''''''''''''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/>
              <a:t>23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 useBgFill="1">
        <p:nvSpPr>
          <p:cNvPr id="356" name="Text Placeholder 13">
            <a:extLst>
              <a:ext uri="{FF2B5EF4-FFF2-40B4-BE49-F238E27FC236}">
                <a16:creationId xmlns:a16="http://schemas.microsoft.com/office/drawing/2014/main" id="{6126C158-4813-4523-98EC-E0C3E61F5A70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7343775" y="5967413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761FD7-A290-4ACD-A506-CA8A924C0588}" type="datetime'''''''''''''''''''''''''''''''''1''''''''''''4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14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644" name="Text Placeholder 13">
            <a:extLst>
              <a:ext uri="{FF2B5EF4-FFF2-40B4-BE49-F238E27FC236}">
                <a16:creationId xmlns:a16="http://schemas.microsoft.com/office/drawing/2014/main" id="{1BCB6405-FADF-4104-B48F-6EED80AC4BE1}"/>
              </a:ext>
            </a:extLst>
          </p:cNvPr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4595813" y="5160963"/>
            <a:ext cx="244475" cy="263525"/>
          </a:xfrm>
          <a:prstGeom prst="rect">
            <a:avLst/>
          </a:prstGeom>
          <a:ln>
            <a:noFill/>
          </a:ln>
          <a:effectLst/>
        </p:spPr>
        <p:txBody>
          <a:bodyPr vert="vert270" wrap="none" lIns="0" tIns="28575" rIns="0" bIns="28575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70EE9E-6C50-4A7F-957F-1600C70FF5DC}" type="datetime'5''''''''''''''''''''8''''''''''''''''''''''''''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8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36" name="Text Placeholder 13">
            <a:extLst>
              <a:ext uri="{FF2B5EF4-FFF2-40B4-BE49-F238E27FC236}">
                <a16:creationId xmlns:a16="http://schemas.microsoft.com/office/drawing/2014/main" id="{2E4F043F-E49B-416D-87F9-BF2C4EE2AEC3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4276725" y="6581775"/>
            <a:ext cx="4175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0B6BA9-C90C-4E79-8D61-5880AF04DA26}" type="datetime'''''D''''''''''''a''''''''''''''''''''''''''''''k''''''''ar'''">
              <a:rPr lang="en-US" altLang="en-US" sz="1200" smtClean="0">
                <a:cs typeface="+mn-cs"/>
              </a:rPr>
              <a:pPr/>
              <a:t>Dakar</a:t>
            </a:fld>
            <a:endParaRPr lang="en-US" sz="1200" dirty="0">
              <a:cs typeface="+mn-cs"/>
            </a:endParaRPr>
          </a:p>
        </p:txBody>
      </p:sp>
      <p:sp>
        <p:nvSpPr>
          <p:cNvPr id="449" name="Text Placeholder 13">
            <a:extLst>
              <a:ext uri="{FF2B5EF4-FFF2-40B4-BE49-F238E27FC236}">
                <a16:creationId xmlns:a16="http://schemas.microsoft.com/office/drawing/2014/main" id="{8B977F89-0D28-481A-A064-89E36FABF679}"/>
              </a:ext>
            </a:extLst>
          </p:cNvPr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5889625" y="6581775"/>
            <a:ext cx="4333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22C5AB-F9FD-4318-B6D0-92DC1A84B096}" type="datetime'L''''o''''''''''''''''u''''''''''ga'''''''''''''">
              <a:rPr lang="en-US" altLang="en-US" sz="1200" smtClean="0">
                <a:cs typeface="+mn-cs"/>
              </a:rPr>
              <a:pPr/>
              <a:t>Louga</a:t>
            </a:fld>
            <a:endParaRPr lang="en-US" sz="1200" dirty="0">
              <a:cs typeface="+mn-cs"/>
            </a:endParaRPr>
          </a:p>
        </p:txBody>
      </p:sp>
      <p:sp>
        <p:nvSpPr>
          <p:cNvPr id="646" name="Text Placeholder 13">
            <a:extLst>
              <a:ext uri="{FF2B5EF4-FFF2-40B4-BE49-F238E27FC236}">
                <a16:creationId xmlns:a16="http://schemas.microsoft.com/office/drawing/2014/main" id="{955A41E6-6EBE-4334-8727-56C6B3B45C8D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7604125" y="5705475"/>
            <a:ext cx="244475" cy="263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28575" rIns="0" bIns="28575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45F8CD-2FA7-46CC-9362-4CA1C4DEBED4}" type="datetime'''''''''''''''''''''''''''21'''''''''''''''''''''''">
              <a:rPr lang="en-US" altLang="en-US" b="1" smtClean="0">
                <a:solidFill>
                  <a:srgbClr val="C30C3E"/>
                </a:solidFill>
                <a:latin typeface="+mn-lt"/>
                <a:cs typeface="+mn-cs"/>
              </a:rPr>
              <a:pPr/>
              <a:t>21</a:t>
            </a:fld>
            <a:endParaRPr lang="en-US" b="1" dirty="0">
              <a:solidFill>
                <a:srgbClr val="C30C3E"/>
              </a:solidFill>
              <a:latin typeface="+mn-lt"/>
              <a:cs typeface="+mn-cs"/>
            </a:endParaRPr>
          </a:p>
        </p:txBody>
      </p:sp>
      <p:sp>
        <p:nvSpPr>
          <p:cNvPr id="333" name="Text Placeholder 13">
            <a:extLst>
              <a:ext uri="{FF2B5EF4-FFF2-40B4-BE49-F238E27FC236}">
                <a16:creationId xmlns:a16="http://schemas.microsoft.com/office/drawing/2014/main" id="{67E56FE9-2C14-4ABB-AA36-B4F54FCD7319}"/>
              </a:ext>
            </a:extLst>
          </p:cNvPr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7340600" y="6581775"/>
            <a:ext cx="771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A69436-E40C-4C51-9F63-7DD2593B359E}" type="datetime'''''''''''''''''S''''''a''''''''''int''''''''-''''''''Louis'''">
              <a:rPr lang="en-US" altLang="en-US" sz="1200" smtClean="0">
                <a:cs typeface="+mn-cs"/>
              </a:rPr>
              <a:pPr/>
              <a:t>Saint-Louis</a:t>
            </a:fld>
            <a:endParaRPr lang="en-US" sz="1200" dirty="0">
              <a:cs typeface="+mn-cs"/>
            </a:endParaRPr>
          </a:p>
        </p:txBody>
      </p:sp>
      <p:sp>
        <p:nvSpPr>
          <p:cNvPr id="349" name="Text Placeholder 13">
            <a:extLst>
              <a:ext uri="{FF2B5EF4-FFF2-40B4-BE49-F238E27FC236}">
                <a16:creationId xmlns:a16="http://schemas.microsoft.com/office/drawing/2014/main" id="{6018AAE8-A3AE-4B8F-BF74-64AE9ED260B6}"/>
              </a:ext>
            </a:extLst>
          </p:cNvPr>
          <p:cNvSpPr>
            <a:spLocks noGrp="1"/>
          </p:cNvSpPr>
          <p:nvPr>
            <p:custDataLst>
              <p:tags r:id="rId97"/>
            </p:custDataLst>
          </p:nvPr>
        </p:nvSpPr>
        <p:spPr bwMode="gray">
          <a:xfrm>
            <a:off x="4352925" y="4999038"/>
            <a:ext cx="2635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8EAF55-831A-471B-BB7A-131B8C54F05C}" type="datetime'''''''''''''''''''''''''5''''''''3'''''''''''''">
              <a:rPr lang="en-US" altLang="en-US" b="1" smtClean="0">
                <a:solidFill>
                  <a:schemeClr val="tx2"/>
                </a:solidFill>
                <a:latin typeface="+mn-lt"/>
                <a:cs typeface="+mn-cs"/>
              </a:rPr>
              <a:pPr/>
              <a:t>53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 useBgFill="1">
        <p:nvSpPr>
          <p:cNvPr id="450" name="Text Placeholder 13">
            <a:extLst>
              <a:ext uri="{FF2B5EF4-FFF2-40B4-BE49-F238E27FC236}">
                <a16:creationId xmlns:a16="http://schemas.microsoft.com/office/drawing/2014/main" id="{3180A83F-417B-4A8F-AF43-77D715045770}"/>
              </a:ext>
            </a:extLst>
          </p:cNvPr>
          <p:cNvSpPr>
            <a:spLocks noGrp="1"/>
          </p:cNvSpPr>
          <p:nvPr>
            <p:custDataLst>
              <p:tags r:id="rId98"/>
            </p:custDataLst>
          </p:nvPr>
        </p:nvSpPr>
        <p:spPr bwMode="gray">
          <a:xfrm>
            <a:off x="5722938" y="5819775"/>
            <a:ext cx="263525" cy="2444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B7F0AF-0C5F-4B80-ABFA-2A04DE7CC5AD}" type="datetime'2''''1'''''''''''''''''''''''''''''''''''''''''''''''">
              <a:rPr lang="en-US" altLang="en-US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/>
              <a:t>21</a:t>
            </a:fld>
            <a:endParaRPr lang="en-US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702" name="Text Placeholder 13">
            <a:extLst>
              <a:ext uri="{FF2B5EF4-FFF2-40B4-BE49-F238E27FC236}">
                <a16:creationId xmlns:a16="http://schemas.microsoft.com/office/drawing/2014/main" id="{B77FDA98-3FA9-4A4C-9801-F25CAFB1ED56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3946525" y="5243513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0A12F0-1BC9-4697-A11E-87BF936F09AC}" type="datetime'''''''-''''''''''''''''7''''''''''''''%'">
              <a:rPr lang="en-US" altLang="en-US" sz="1400" b="1" smtClean="0">
                <a:effectLst/>
                <a:cs typeface="+mn-cs"/>
              </a:rPr>
              <a:pPr/>
              <a:t>-7%</a:t>
            </a:fld>
            <a:endParaRPr lang="en-US" sz="1400" b="1" dirty="0">
              <a:cs typeface="+mn-cs"/>
            </a:endParaRPr>
          </a:p>
        </p:txBody>
      </p:sp>
      <p:sp>
        <p:nvSpPr>
          <p:cNvPr id="712" name="Text Placeholder 13">
            <a:extLst>
              <a:ext uri="{FF2B5EF4-FFF2-40B4-BE49-F238E27FC236}">
                <a16:creationId xmlns:a16="http://schemas.microsoft.com/office/drawing/2014/main" id="{7EC8437B-7882-4AB6-BE05-B3B21070B4FA}"/>
              </a:ext>
            </a:extLst>
          </p:cNvPr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5567363" y="6064250"/>
            <a:ext cx="447675" cy="30162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84A9B7-75FE-4DD3-A205-516C7D11ED92}" type="datetime'''''''''-''9''''''''''''''''''''''''%'">
              <a:rPr lang="en-US" altLang="en-US" sz="1400" b="1" smtClean="0">
                <a:effectLst/>
                <a:cs typeface="+mn-cs"/>
              </a:rPr>
              <a:pPr/>
              <a:t>-9%</a:t>
            </a:fld>
            <a:endParaRPr lang="en-US" sz="1400" b="1" dirty="0">
              <a:cs typeface="+mn-cs"/>
            </a:endParaRPr>
          </a:p>
        </p:txBody>
      </p:sp>
      <p:sp>
        <p:nvSpPr>
          <p:cNvPr id="516" name="TextBox 515">
            <a:extLst>
              <a:ext uri="{FF2B5EF4-FFF2-40B4-BE49-F238E27FC236}">
                <a16:creationId xmlns:a16="http://schemas.microsoft.com/office/drawing/2014/main" id="{C853FE57-7C00-4023-ADFE-9DA37ED84B50}"/>
              </a:ext>
            </a:extLst>
          </p:cNvPr>
          <p:cNvSpPr txBox="1">
            <a:spLocks noChangeAspect="1"/>
          </p:cNvSpPr>
          <p:nvPr/>
        </p:nvSpPr>
        <p:spPr>
          <a:xfrm>
            <a:off x="155001" y="3540220"/>
            <a:ext cx="2985074" cy="12856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algn="l"/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Groupe 2: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Fatick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Ziguinchor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Matam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Diourbel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Kaolack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et</a:t>
            </a:r>
          </a:p>
          <a:p>
            <a:pPr algn="l"/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Thiès.</a:t>
            </a:r>
          </a:p>
          <a:p>
            <a:pPr algn="l"/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(score = 3)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517" name="TextBox 516">
            <a:extLst>
              <a:ext uri="{FF2B5EF4-FFF2-40B4-BE49-F238E27FC236}">
                <a16:creationId xmlns:a16="http://schemas.microsoft.com/office/drawing/2014/main" id="{70C4D964-80CD-4A49-A5BE-FD31D86FF6F6}"/>
              </a:ext>
            </a:extLst>
          </p:cNvPr>
          <p:cNvSpPr txBox="1">
            <a:spLocks noChangeAspect="1"/>
          </p:cNvSpPr>
          <p:nvPr/>
        </p:nvSpPr>
        <p:spPr>
          <a:xfrm>
            <a:off x="90707" y="1721550"/>
            <a:ext cx="2985074" cy="12856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algn="l"/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Group</a:t>
            </a:r>
            <a:r>
              <a:rPr lang="en-US" dirty="0">
                <a:solidFill>
                  <a:srgbClr val="3D3C3B"/>
                </a:solidFill>
                <a:latin typeface="Montserrat-Regular"/>
              </a:rPr>
              <a:t>e</a:t>
            </a:r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 prioritaire 1: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Sédhiou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Kolda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Tambacounda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, </a:t>
            </a:r>
            <a:r>
              <a:rPr lang="en-US" sz="1800" b="0" i="0" u="none" strike="noStrike" baseline="0" dirty="0" err="1">
                <a:solidFill>
                  <a:srgbClr val="3D3C3B"/>
                </a:solidFill>
                <a:latin typeface="Montserrat-Regular"/>
              </a:rPr>
              <a:t>Kédougou</a:t>
            </a:r>
            <a:r>
              <a:rPr lang="en-US" sz="1800" b="0" i="0" u="none" strike="noStrike" baseline="0" dirty="0">
                <a:solidFill>
                  <a:srgbClr val="3D3C3B"/>
                </a:solidFill>
                <a:latin typeface="Montserrat-Regular"/>
              </a:rPr>
              <a:t> et </a:t>
            </a:r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Kaffrine </a:t>
            </a:r>
            <a:b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</a:br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(score entre 5 et 6)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518" name="TextBox 517">
            <a:extLst>
              <a:ext uri="{FF2B5EF4-FFF2-40B4-BE49-F238E27FC236}">
                <a16:creationId xmlns:a16="http://schemas.microsoft.com/office/drawing/2014/main" id="{6FE02BFB-84AA-4B1A-A412-D5235CA51F7D}"/>
              </a:ext>
            </a:extLst>
          </p:cNvPr>
          <p:cNvSpPr txBox="1">
            <a:spLocks noChangeAspect="1"/>
          </p:cNvSpPr>
          <p:nvPr/>
        </p:nvSpPr>
        <p:spPr>
          <a:xfrm>
            <a:off x="155001" y="5245292"/>
            <a:ext cx="2985074" cy="128568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algn="l"/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Group 3: Dakar, Saint Louis et Louga. </a:t>
            </a:r>
          </a:p>
          <a:p>
            <a:pPr algn="l"/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(score entre 0 à 2)</a:t>
            </a:r>
            <a:endParaRPr lang="en-US" dirty="0"/>
          </a:p>
        </p:txBody>
      </p:sp>
      <p:sp>
        <p:nvSpPr>
          <p:cNvPr id="536" name="TextBox 535">
            <a:extLst>
              <a:ext uri="{FF2B5EF4-FFF2-40B4-BE49-F238E27FC236}">
                <a16:creationId xmlns:a16="http://schemas.microsoft.com/office/drawing/2014/main" id="{2BD82B83-CCFD-446A-8B85-9C96F1B6F676}"/>
              </a:ext>
            </a:extLst>
          </p:cNvPr>
          <p:cNvSpPr txBox="1"/>
          <p:nvPr/>
        </p:nvSpPr>
        <p:spPr>
          <a:xfrm>
            <a:off x="223262" y="1047175"/>
            <a:ext cx="298507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Groupe de régions prioritaires – DI SRMNIA-N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21" name="TextBox 720">
            <a:extLst>
              <a:ext uri="{FF2B5EF4-FFF2-40B4-BE49-F238E27FC236}">
                <a16:creationId xmlns:a16="http://schemas.microsoft.com/office/drawing/2014/main" id="{ACDD9E75-6742-49FD-BD9A-BF7AC1DAA825}"/>
              </a:ext>
            </a:extLst>
          </p:cNvPr>
          <p:cNvSpPr txBox="1"/>
          <p:nvPr/>
        </p:nvSpPr>
        <p:spPr>
          <a:xfrm>
            <a:off x="3651249" y="957044"/>
            <a:ext cx="421798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nalyse des gaps de financement du DI SRMNIA-N par région (2019-2022)</a:t>
            </a:r>
            <a:endParaRPr lang="en-US" sz="1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22" name="TextBox 721">
            <a:extLst>
              <a:ext uri="{FF2B5EF4-FFF2-40B4-BE49-F238E27FC236}">
                <a16:creationId xmlns:a16="http://schemas.microsoft.com/office/drawing/2014/main" id="{C13D82DA-2A31-4A1B-BD6C-13F5F373B0FC}"/>
              </a:ext>
            </a:extLst>
          </p:cNvPr>
          <p:cNvSpPr txBox="1">
            <a:spLocks noChangeAspect="1"/>
          </p:cNvSpPr>
          <p:nvPr/>
        </p:nvSpPr>
        <p:spPr>
          <a:xfrm>
            <a:off x="8900350" y="3268664"/>
            <a:ext cx="2977388" cy="14716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algn="l"/>
            <a:r>
              <a:rPr lang="fr-FR" dirty="0">
                <a:solidFill>
                  <a:srgbClr val="3D3C3B"/>
                </a:solidFill>
                <a:latin typeface="Montserrat-Regular"/>
              </a:rPr>
              <a:t>U</a:t>
            </a:r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n gap de financement </a:t>
            </a:r>
            <a:r>
              <a:rPr lang="fr-FR" dirty="0">
                <a:solidFill>
                  <a:srgbClr val="3D3C3B"/>
                </a:solidFill>
                <a:latin typeface="Montserrat-Regular"/>
              </a:rPr>
              <a:t>pour les</a:t>
            </a:r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 régions prioritaires:  </a:t>
            </a:r>
            <a:r>
              <a:rPr lang="fr-FR" sz="1800" b="1" i="0" u="none" strike="noStrike" baseline="0" dirty="0">
                <a:solidFill>
                  <a:srgbClr val="3D3C3B"/>
                </a:solidFill>
                <a:latin typeface="Montserrat-Regular"/>
              </a:rPr>
              <a:t>Kaffrine, Sédhiou, Diourbel, Thiès et Kaolack</a:t>
            </a:r>
            <a:r>
              <a:rPr lang="fr-FR" sz="1800" b="0" i="0" u="none" strike="noStrike" baseline="0" dirty="0">
                <a:solidFill>
                  <a:srgbClr val="3D3C3B"/>
                </a:solidFill>
                <a:latin typeface="Montserrat-Regular"/>
              </a:rPr>
              <a:t>.</a:t>
            </a:r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100" name="Title 2">
            <a:extLst>
              <a:ext uri="{FF2B5EF4-FFF2-40B4-BE49-F238E27FC236}">
                <a16:creationId xmlns:a16="http://schemas.microsoft.com/office/drawing/2014/main" id="{219A6C97-D2C3-4EB7-8257-5333493FA949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e des </a:t>
            </a:r>
            <a:r>
              <a:rPr lang="fr-FR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ps de financement par g</a:t>
            </a:r>
            <a:r>
              <a:rPr lang="en-US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lang="fr-FR" sz="2400" dirty="0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pe</a:t>
            </a:r>
            <a:r>
              <a:rPr lang="fr-FR" sz="24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régions prioritaires du DI SRMNIA-N</a:t>
            </a: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2019-2022)</a:t>
            </a:r>
          </a:p>
        </p:txBody>
      </p:sp>
    </p:spTree>
    <p:extLst>
      <p:ext uri="{BB962C8B-B14F-4D97-AF65-F5344CB8AC3E}">
        <p14:creationId xmlns:p14="http://schemas.microsoft.com/office/powerpoint/2010/main" val="40048751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679BABF9-C95F-4534-8BF7-D5862DAE88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401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87" imgW="416" imgH="416" progId="TCLayout.ActiveDocument.1">
                  <p:embed/>
                </p:oleObj>
              </mc:Choice>
              <mc:Fallback>
                <p:oleObj name="think-cell Slide" r:id="rId87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0" name="Chart 99">
            <a:extLst>
              <a:ext uri="{FF2B5EF4-FFF2-40B4-BE49-F238E27FC236}">
                <a16:creationId xmlns:a16="http://schemas.microsoft.com/office/drawing/2014/main" id="{595B83F4-528A-49F7-A481-8563987BE469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513496"/>
              </p:ext>
            </p:extLst>
          </p:nvPr>
        </p:nvGraphicFramePr>
        <p:xfrm>
          <a:off x="6481763" y="1628775"/>
          <a:ext cx="5072062" cy="3532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9"/>
          </a:graphicData>
        </a:graphic>
      </p:graphicFrame>
      <p:cxnSp>
        <p:nvCxnSpPr>
          <p:cNvPr id="487" name="Straight Connector 486">
            <a:extLst>
              <a:ext uri="{FF2B5EF4-FFF2-40B4-BE49-F238E27FC236}">
                <a16:creationId xmlns:a16="http://schemas.microsoft.com/office/drawing/2014/main" id="{FAEE91CC-048E-4F2C-8EFA-29429452B160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 flipV="1">
            <a:off x="6589713" y="5030788"/>
            <a:ext cx="74613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5" name="Straight Connector 484">
            <a:extLst>
              <a:ext uri="{FF2B5EF4-FFF2-40B4-BE49-F238E27FC236}">
                <a16:creationId xmlns:a16="http://schemas.microsoft.com/office/drawing/2014/main" id="{DAFCAAB9-3C3A-4028-9E37-3EE8B92145E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6538913" y="3768725"/>
            <a:ext cx="508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31" name="Text Placeholder 13">
            <a:extLst>
              <a:ext uri="{FF2B5EF4-FFF2-40B4-BE49-F238E27FC236}">
                <a16:creationId xmlns:a16="http://schemas.microsoft.com/office/drawing/2014/main" id="{26E3822F-8FF5-4B73-A96D-87D341F7FF5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542213" y="2905125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270F53C-F4EC-4847-8AA1-8BC49D755EAD}" type="datetime'''''''''''''''''''''''28''''''''''''''''''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2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89" name="Text Placeholder 13">
            <a:extLst>
              <a:ext uri="{FF2B5EF4-FFF2-40B4-BE49-F238E27FC236}">
                <a16:creationId xmlns:a16="http://schemas.microsoft.com/office/drawing/2014/main" id="{FE96B41E-39D3-4F7E-8239-85D0EC020579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24488" y="4410075"/>
            <a:ext cx="828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7D9809A-1CDC-48A1-AA4F-D39E73496FD9}" type="datetime'''P''''a''''''l''''''''''''''u''d''''''''ism''''''e'">
              <a:rPr lang="en-US" altLang="en-US" sz="1400" smtClean="0">
                <a:cs typeface="+mn-cs"/>
              </a:rPr>
              <a:pPr/>
              <a:t>Paludisme</a:t>
            </a:fld>
            <a:endParaRPr lang="en-US" sz="1400" dirty="0">
              <a:cs typeface="+mn-cs"/>
            </a:endParaRPr>
          </a:p>
        </p:txBody>
      </p:sp>
      <p:sp>
        <p:nvSpPr>
          <p:cNvPr id="111" name="Text Placeholder 13">
            <a:extLst>
              <a:ext uri="{FF2B5EF4-FFF2-40B4-BE49-F238E27FC236}">
                <a16:creationId xmlns:a16="http://schemas.microsoft.com/office/drawing/2014/main" id="{5CBC435B-B68D-4379-BF14-68419E3B903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796088" y="366236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94573B-0E54-402E-8BF5-EB25FD5F5C38}" type="datetime'''''''''''''''''''''''''''''''''5'''''''''''''''''''''''''''''">
              <a:rPr lang="en-US" altLang="en-US" sz="1400" smtClean="0">
                <a:effectLst/>
                <a:cs typeface="+mn-cs"/>
              </a:rPr>
              <a:pPr/>
              <a:t>5</a:t>
            </a:fld>
            <a:endParaRPr lang="en-US" sz="1400" dirty="0">
              <a:cs typeface="+mn-cs"/>
            </a:endParaRPr>
          </a:p>
        </p:txBody>
      </p:sp>
      <p:sp>
        <p:nvSpPr>
          <p:cNvPr id="381" name="Text Placeholder 13">
            <a:extLst>
              <a:ext uri="{FF2B5EF4-FFF2-40B4-BE49-F238E27FC236}">
                <a16:creationId xmlns:a16="http://schemas.microsoft.com/office/drawing/2014/main" id="{AB9228B5-1D2D-438A-86F8-E50AA92941A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391025" y="1792288"/>
            <a:ext cx="1862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F4B6485-8879-4AF1-962A-9911DB62DEB9}" type="datetime'Soins de ''''''s''''an''t''''é'' pr''i''mair''e'''''''''''''''">
              <a:rPr lang="en-US" altLang="en-US" sz="1400" smtClean="0">
                <a:cs typeface="+mn-cs"/>
              </a:rPr>
              <a:pPr/>
              <a:t>Soins de santé primaire</a:t>
            </a:fld>
            <a:endParaRPr lang="en-US" sz="1400" dirty="0">
              <a:cs typeface="+mn-cs"/>
            </a:endParaRP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B7A9AE1E-FC19-472D-96E8-131054BE55E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0544175" y="17922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84BEB7-B773-42F7-B5D2-5DF62405E69C}" type="datetime'4''''''''''''''''''''''''''8'''''''''''''''''">
              <a:rPr lang="en-US" altLang="en-US" sz="1400" smtClean="0">
                <a:effectLst/>
                <a:cs typeface="+mn-cs"/>
              </a:rPr>
              <a:pPr/>
              <a:t>48</a:t>
            </a:fld>
            <a:endParaRPr lang="en-US" sz="1400" dirty="0">
              <a:cs typeface="+mn-cs"/>
            </a:endParaRPr>
          </a:p>
        </p:txBody>
      </p:sp>
      <p:sp>
        <p:nvSpPr>
          <p:cNvPr id="87" name="Text Placeholder 13">
            <a:extLst>
              <a:ext uri="{FF2B5EF4-FFF2-40B4-BE49-F238E27FC236}">
                <a16:creationId xmlns:a16="http://schemas.microsoft.com/office/drawing/2014/main" id="{8D64C626-B704-4C48-BD5A-EF2E168B0BA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8555038" y="17922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5158B6B-9FE8-471C-9AE5-A1F75CC48805}" type="datetime'7''''''''''''''''''''''''1'''''''''''''''''''''''">
              <a:rPr lang="en-US" altLang="en-US" sz="1400" smtClean="0">
                <a:effectLst/>
                <a:cs typeface="+mn-cs"/>
              </a:rPr>
              <a:pPr/>
              <a:t>71</a:t>
            </a:fld>
            <a:endParaRPr lang="en-US" sz="1400" dirty="0">
              <a:cs typeface="+mn-cs"/>
            </a:endParaRPr>
          </a:p>
        </p:txBody>
      </p:sp>
      <p:sp>
        <p:nvSpPr>
          <p:cNvPr id="383" name="Text Placeholder 13">
            <a:extLst>
              <a:ext uri="{FF2B5EF4-FFF2-40B4-BE49-F238E27FC236}">
                <a16:creationId xmlns:a16="http://schemas.microsoft.com/office/drawing/2014/main" id="{1A9BD955-25D5-4AAA-BD2C-BC1CF456170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561013" y="2165350"/>
            <a:ext cx="692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C2C2B01-F105-497E-B512-02F98504D8F4}" type="datetime'S''''R''M''''''''''''''''''N''''''I''A'''''''''''''">
              <a:rPr lang="fr-FR" altLang="en-US" sz="1400" smtClean="0">
                <a:cs typeface="+mn-cs"/>
              </a:rPr>
              <a:pPr/>
              <a:t>SRMNIA</a:t>
            </a:fld>
            <a:endParaRPr lang="en-US" sz="1400" dirty="0">
              <a:cs typeface="+mn-cs"/>
            </a:endParaRPr>
          </a:p>
        </p:txBody>
      </p:sp>
      <p:sp>
        <p:nvSpPr>
          <p:cNvPr id="112" name="Text Placeholder 13">
            <a:extLst>
              <a:ext uri="{FF2B5EF4-FFF2-40B4-BE49-F238E27FC236}">
                <a16:creationId xmlns:a16="http://schemas.microsoft.com/office/drawing/2014/main" id="{8F094993-F787-4939-8D4A-E09E8119FEA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992938" y="366236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4690916-CD41-4862-A899-2543B611734C}" type="datetime'''''7''''''''''''''''''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7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20" name="Text Placeholder 13">
            <a:extLst>
              <a:ext uri="{FF2B5EF4-FFF2-40B4-BE49-F238E27FC236}">
                <a16:creationId xmlns:a16="http://schemas.microsoft.com/office/drawing/2014/main" id="{86DC80C0-D011-4FA9-ADBD-7F5E5F4367DD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359650" y="1792288"/>
            <a:ext cx="14922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6C10D1-DBC9-4DFA-8322-8EEFB5EF0946}" type="datetime'''''''''''3'''''''''''''''''''''''''''''''''''''''''">
              <a:rPr lang="en-US" altLang="en-US" sz="1400" smtClean="0">
                <a:cs typeface="+mn-cs"/>
              </a:rPr>
              <a:pPr/>
              <a:t>3</a:t>
            </a:fld>
            <a:endParaRPr lang="en-US" sz="1400" dirty="0">
              <a:cs typeface="+mn-cs"/>
            </a:endParaRPr>
          </a:p>
        </p:txBody>
      </p:sp>
      <p:sp>
        <p:nvSpPr>
          <p:cNvPr id="324" name="Text Placeholder 13">
            <a:extLst>
              <a:ext uri="{FF2B5EF4-FFF2-40B4-BE49-F238E27FC236}">
                <a16:creationId xmlns:a16="http://schemas.microsoft.com/office/drawing/2014/main" id="{A0CC0070-E4FC-4BB7-91BA-46FAA5679E1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559550" y="2165350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7A9630-2600-42AD-B1B1-4336D4E919C9}" type="datetime'''''''''''''4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4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6" name="Text Placeholder 13">
            <a:extLst>
              <a:ext uri="{FF2B5EF4-FFF2-40B4-BE49-F238E27FC236}">
                <a16:creationId xmlns:a16="http://schemas.microsoft.com/office/drawing/2014/main" id="{FAFC1A2A-07B4-4A58-9F0D-EC78C42211F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89688" y="366236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162D2D1-4D0C-475C-976A-A29E52CBB6E3}" type="datetime'''''''''''''''''''''''''''''''''''2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384" name="Text Placeholder 13">
            <a:extLst>
              <a:ext uri="{FF2B5EF4-FFF2-40B4-BE49-F238E27FC236}">
                <a16:creationId xmlns:a16="http://schemas.microsoft.com/office/drawing/2014/main" id="{6AC1166D-DC6F-4679-857D-40D290AB89D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348288" y="2540000"/>
            <a:ext cx="904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5796976-1DB9-4C90-80B9-E0AAABD60F3E}" type="datetime'''''''''V''''''''a''c''c''i''''nat''''''''i''''''o''n'''''''''">
              <a:rPr lang="fr-FR" altLang="en-US" sz="1400" smtClean="0">
                <a:cs typeface="+mn-cs"/>
              </a:rPr>
              <a:pPr/>
              <a:t>Vaccination</a:t>
            </a:fld>
            <a:endParaRPr lang="en-US" sz="1400" dirty="0">
              <a:cs typeface="+mn-cs"/>
            </a:endParaRPr>
          </a:p>
        </p:txBody>
      </p:sp>
      <p:sp>
        <p:nvSpPr>
          <p:cNvPr id="323" name="Text Placeholder 13">
            <a:extLst>
              <a:ext uri="{FF2B5EF4-FFF2-40B4-BE49-F238E27FC236}">
                <a16:creationId xmlns:a16="http://schemas.microsoft.com/office/drawing/2014/main" id="{0C296766-E80B-4424-A8A1-BCD4AD2063C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582025" y="21653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E48B37-319D-4294-94CD-F43EF2652016}" type="datetime'''''''''''''''''''''''''''''''''''''1''''''''2''''''''2'''''''">
              <a:rPr lang="en-US" altLang="en-US" sz="1400" smtClean="0">
                <a:cs typeface="+mn-cs"/>
              </a:rPr>
              <a:pPr/>
              <a:t>122</a:t>
            </a:fld>
            <a:endParaRPr lang="en-US" sz="1400" dirty="0">
              <a:cs typeface="+mn-cs"/>
            </a:endParaRPr>
          </a:p>
        </p:txBody>
      </p:sp>
      <p:sp>
        <p:nvSpPr>
          <p:cNvPr id="343" name="Text Placeholder 13">
            <a:extLst>
              <a:ext uri="{FF2B5EF4-FFF2-40B4-BE49-F238E27FC236}">
                <a16:creationId xmlns:a16="http://schemas.microsoft.com/office/drawing/2014/main" id="{3FB3E901-46A8-46A3-86FF-BC1425006292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53238" y="4446588"/>
            <a:ext cx="212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230156-BC66-44ED-88C6-F63CECF4661F}" type="datetime'''''''''''''''''''''''''''''''''''''''''''''8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21" name="Text Placeholder 13">
            <a:extLst>
              <a:ext uri="{FF2B5EF4-FFF2-40B4-BE49-F238E27FC236}">
                <a16:creationId xmlns:a16="http://schemas.microsoft.com/office/drawing/2014/main" id="{87077446-2883-4408-A263-D0BA72528B5E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846888" y="1792288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99AFC0C-C406-474B-BE01-B1419040C1AE}" type="datetime'''''''''''''''''''''2''''''''''''4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4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26" name="Text Placeholder 13">
            <a:extLst>
              <a:ext uri="{FF2B5EF4-FFF2-40B4-BE49-F238E27FC236}">
                <a16:creationId xmlns:a16="http://schemas.microsoft.com/office/drawing/2014/main" id="{B5208EDE-8E5A-4610-8E37-C4A660BA24E1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367588" y="25400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549DA9E-D148-4743-88F0-23BCAB28A18A}" type="datetime'''''''''''''''''''''''''''''''''''2''''''''''''''''1'''''''">
              <a:rPr lang="en-US" altLang="en-US" sz="1400" smtClean="0">
                <a:cs typeface="+mn-cs"/>
              </a:rPr>
              <a:pPr/>
              <a:t>21</a:t>
            </a:fld>
            <a:endParaRPr lang="en-US" sz="1400" dirty="0">
              <a:cs typeface="+mn-cs"/>
            </a:endParaRPr>
          </a:p>
        </p:txBody>
      </p:sp>
      <p:sp>
        <p:nvSpPr>
          <p:cNvPr id="327" name="Text Placeholder 13">
            <a:extLst>
              <a:ext uri="{FF2B5EF4-FFF2-40B4-BE49-F238E27FC236}">
                <a16:creationId xmlns:a16="http://schemas.microsoft.com/office/drawing/2014/main" id="{8CA8C36A-4486-4D24-BD69-5D3E838E3A25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726238" y="254000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A2E293-E833-4CED-AA88-A6D9B8F937BB}" type="datetime'''''1''''''''''''''''7''''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7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29" name="Text Placeholder 13">
            <a:extLst>
              <a:ext uri="{FF2B5EF4-FFF2-40B4-BE49-F238E27FC236}">
                <a16:creationId xmlns:a16="http://schemas.microsoft.com/office/drawing/2014/main" id="{139CE322-44FB-4456-80C8-95AE93C61978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180263" y="29146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816B68A-86B7-4804-B5CB-D2EC236CAA01}" type="datetime'''''''''1''''''''''''''''''3''''''''''''''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338" name="Text Placeholder 13">
            <a:extLst>
              <a:ext uri="{FF2B5EF4-FFF2-40B4-BE49-F238E27FC236}">
                <a16:creationId xmlns:a16="http://schemas.microsoft.com/office/drawing/2014/main" id="{2C0D1C29-B2CE-425D-84CA-20024EDF6129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661150" y="40370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31EC5E-C112-4437-9147-391673795DB9}" type="datetime'''''''''''''''''''''''1''''''''''3''''''''''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330" name="Text Placeholder 13">
            <a:extLst>
              <a:ext uri="{FF2B5EF4-FFF2-40B4-BE49-F238E27FC236}">
                <a16:creationId xmlns:a16="http://schemas.microsoft.com/office/drawing/2014/main" id="{DCE1CD50-12AA-4718-989B-5855D92AF2B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6704013" y="2914650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6CF10C-18D6-443A-9189-D1C0734CBCC7}" type="datetime'''''1''''''''''''''''''''''''''6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6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85" name="Text Placeholder 13">
            <a:extLst>
              <a:ext uri="{FF2B5EF4-FFF2-40B4-BE49-F238E27FC236}">
                <a16:creationId xmlns:a16="http://schemas.microsoft.com/office/drawing/2014/main" id="{E800DD70-A90D-42E7-B564-C00B8AFF446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886450" y="2914650"/>
            <a:ext cx="366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FA11396-B426-4A37-A11C-7942FDC2A6C8}" type="datetime'''''''''''''''R''''''''S''''''''''''''S'''''''''''''''''''''''">
              <a:rPr lang="fr-FR" altLang="en-US" sz="1400" smtClean="0">
                <a:cs typeface="+mn-cs"/>
              </a:rPr>
              <a:pPr/>
              <a:t>RSS</a:t>
            </a:fld>
            <a:endParaRPr lang="en-US" sz="1400" dirty="0">
              <a:cs typeface="+mn-cs"/>
            </a:endParaRPr>
          </a:p>
        </p:txBody>
      </p:sp>
      <p:sp>
        <p:nvSpPr>
          <p:cNvPr id="109" name="Text Placeholder 13">
            <a:extLst>
              <a:ext uri="{FF2B5EF4-FFF2-40B4-BE49-F238E27FC236}">
                <a16:creationId xmlns:a16="http://schemas.microsoft.com/office/drawing/2014/main" id="{8BB930EF-0F97-48B8-91CB-CD8C96AEEA03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085013" y="3287713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4FCC67-DD81-4E8A-A80A-4FEF0CDBA113}" type="datetime'''1''''''''''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32" name="Text Placeholder 13">
            <a:extLst>
              <a:ext uri="{FF2B5EF4-FFF2-40B4-BE49-F238E27FC236}">
                <a16:creationId xmlns:a16="http://schemas.microsoft.com/office/drawing/2014/main" id="{E38D454E-3CD3-4842-B7CF-81A15D8B090D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6799263" y="3287713"/>
            <a:ext cx="247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30DF8F-7E0D-4B2F-8512-EE54D0D26EF9}" type="datetime'''''''''''1''''''''''''''''''''''''''''''''''''''''''''3'">
              <a:rPr lang="en-US" altLang="en-US" sz="1400" smtClean="0">
                <a:cs typeface="+mn-cs"/>
              </a:rPr>
              <a:pPr/>
              <a:t>13</a:t>
            </a:fld>
            <a:endParaRPr lang="en-US" sz="1400" dirty="0">
              <a:cs typeface="+mn-cs"/>
            </a:endParaRPr>
          </a:p>
        </p:txBody>
      </p:sp>
      <p:sp>
        <p:nvSpPr>
          <p:cNvPr id="333" name="Text Placeholder 13">
            <a:extLst>
              <a:ext uri="{FF2B5EF4-FFF2-40B4-BE49-F238E27FC236}">
                <a16:creationId xmlns:a16="http://schemas.microsoft.com/office/drawing/2014/main" id="{906D259E-6252-4189-8557-BD675873868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561138" y="328771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4B459DD-716C-4A86-B529-7535F5A14BDC}" type="datetime'''4''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4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86" name="Text Placeholder 13">
            <a:extLst>
              <a:ext uri="{FF2B5EF4-FFF2-40B4-BE49-F238E27FC236}">
                <a16:creationId xmlns:a16="http://schemas.microsoft.com/office/drawing/2014/main" id="{3630A278-CDA6-48C9-81F1-0F2B69A75C0D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116513" y="3287713"/>
            <a:ext cx="1136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A3F622B-054B-4AA3-8FED-4550DEDD876F}" type="datetime'''VIH'''''','' ''''''''''''''S''''''''''''ID''A/''I''S''T'''''">
              <a:rPr lang="en-US" altLang="en-US" sz="1400" smtClean="0">
                <a:effectLst/>
                <a:cs typeface="+mn-cs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VIH, SIDA/IST</a:t>
            </a:fld>
            <a:endParaRPr lang="en-US" sz="1400" dirty="0">
              <a:cs typeface="+mn-cs"/>
            </a:endParaRPr>
          </a:p>
        </p:txBody>
      </p:sp>
      <p:sp>
        <p:nvSpPr>
          <p:cNvPr id="335" name="Text Placeholder 13">
            <a:extLst>
              <a:ext uri="{FF2B5EF4-FFF2-40B4-BE49-F238E27FC236}">
                <a16:creationId xmlns:a16="http://schemas.microsoft.com/office/drawing/2014/main" id="{02FBD2EC-B1CB-4794-A6DB-0578FC7FD738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627813" y="3662363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644E835-9AE2-4187-A396-F9DBDF626945}" type="datetime'''''''''''5''''''''''''''''''''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dirty="0">
              <a:cs typeface="+mn-cs"/>
            </a:endParaRPr>
          </a:p>
        </p:txBody>
      </p:sp>
      <p:sp>
        <p:nvSpPr>
          <p:cNvPr id="387" name="Text Placeholder 13">
            <a:extLst>
              <a:ext uri="{FF2B5EF4-FFF2-40B4-BE49-F238E27FC236}">
                <a16:creationId xmlns:a16="http://schemas.microsoft.com/office/drawing/2014/main" id="{9D68B9E9-27D8-4A30-AE3B-B8CD9983815E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822825" y="3662363"/>
            <a:ext cx="1430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89423C8-1456-4CA6-8E50-494615B68614}" type="datetime'P''''''ro''''te''''c''ti''on'''' S''''o''''ci''a''''l''''e'">
              <a:rPr lang="en-US" altLang="en-US" sz="1400" smtClean="0">
                <a:cs typeface="+mn-cs"/>
              </a:rPr>
              <a:pPr/>
              <a:t>Protection Sociale</a:t>
            </a:fld>
            <a:endParaRPr lang="en-US" sz="1400" dirty="0">
              <a:cs typeface="+mn-cs"/>
            </a:endParaRPr>
          </a:p>
        </p:txBody>
      </p:sp>
      <p:sp>
        <p:nvSpPr>
          <p:cNvPr id="115" name="Text Placeholder 13">
            <a:extLst>
              <a:ext uri="{FF2B5EF4-FFF2-40B4-BE49-F238E27FC236}">
                <a16:creationId xmlns:a16="http://schemas.microsoft.com/office/drawing/2014/main" id="{255375E4-2961-469F-8ACC-A3DF44450444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954838" y="4037013"/>
            <a:ext cx="14922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5C1267-E4AB-4EFC-8786-CDBAC553EA6F}" type="datetime'''''''''''''''''''''''''''''''''''''''''''''''''''''1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88" name="Text Placeholder 13">
            <a:extLst>
              <a:ext uri="{FF2B5EF4-FFF2-40B4-BE49-F238E27FC236}">
                <a16:creationId xmlns:a16="http://schemas.microsoft.com/office/drawing/2014/main" id="{4CACB1C6-94AB-449D-9AED-1B4D2BEB83B9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592763" y="4037013"/>
            <a:ext cx="660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5D4F750-4357-4D75-AAEF-3F1F06819876}" type="datetime'''''''''''N''''''''''''''''''u''tr''i''tio''''''''''n'''''''">
              <a:rPr lang="en-US" altLang="en-US" sz="1400" smtClean="0">
                <a:cs typeface="+mn-cs"/>
              </a:rPr>
              <a:pPr/>
              <a:t>Nutrition</a:t>
            </a:fld>
            <a:endParaRPr lang="en-US" sz="1400" dirty="0">
              <a:cs typeface="+mn-cs"/>
            </a:endParaRPr>
          </a:p>
        </p:txBody>
      </p:sp>
      <p:sp>
        <p:nvSpPr>
          <p:cNvPr id="340" name="Text Placeholder 13">
            <a:extLst>
              <a:ext uri="{FF2B5EF4-FFF2-40B4-BE49-F238E27FC236}">
                <a16:creationId xmlns:a16="http://schemas.microsoft.com/office/drawing/2014/main" id="{B03DF8A6-7E70-4CE3-9716-79F37381AC59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123113" y="4027488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DA6BC9-355D-48C1-920A-56E993D8EC02}" type="datetime'''''''''''1''''5''''''''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5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44" name="Text Placeholder 13">
            <a:extLst>
              <a:ext uri="{FF2B5EF4-FFF2-40B4-BE49-F238E27FC236}">
                <a16:creationId xmlns:a16="http://schemas.microsoft.com/office/drawing/2014/main" id="{A4F09BB1-CCEA-4078-BBDA-B1ADCD38DD00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573838" y="4784725"/>
            <a:ext cx="14922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0C1371F-13DD-47DA-9EFE-9583939EF27A}" type="datetime'''2''''''''''''''''''''''''''''''''''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345" name="Text Placeholder 13">
            <a:extLst>
              <a:ext uri="{FF2B5EF4-FFF2-40B4-BE49-F238E27FC236}">
                <a16:creationId xmlns:a16="http://schemas.microsoft.com/office/drawing/2014/main" id="{1822725E-D4BC-41B6-9EC9-2A709EC75187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589713" y="5100638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1703BA-45CA-4BA4-9281-6140F2390046}" type="datetime'''''''''''''''''''2''''''''''''''''''''''''''''''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US" sz="1400" dirty="0">
              <a:cs typeface="+mn-cs"/>
            </a:endParaRPr>
          </a:p>
        </p:txBody>
      </p:sp>
      <p:sp>
        <p:nvSpPr>
          <p:cNvPr id="390" name="Text Placeholder 13">
            <a:extLst>
              <a:ext uri="{FF2B5EF4-FFF2-40B4-BE49-F238E27FC236}">
                <a16:creationId xmlns:a16="http://schemas.microsoft.com/office/drawing/2014/main" id="{212C130E-AA12-4202-ABD1-BAEDE1CFC4D7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868988" y="4784725"/>
            <a:ext cx="384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695393FC-A25F-445A-98FB-D3AC0668F8A7}" type="datetime'''''''''''''M''''''''''''''''N''''''''''''''''''T'''''">
              <a:rPr lang="en-US" altLang="en-US" sz="1400" smtClean="0">
                <a:cs typeface="+mn-cs"/>
              </a:rPr>
              <a:pPr/>
              <a:t>MNT</a:t>
            </a:fld>
            <a:endParaRPr lang="en-US" sz="1400" dirty="0">
              <a:cs typeface="+mn-cs"/>
            </a:endParaRPr>
          </a:p>
        </p:txBody>
      </p:sp>
      <p:sp>
        <p:nvSpPr>
          <p:cNvPr id="334" name="Text Placeholder 13">
            <a:extLst>
              <a:ext uri="{FF2B5EF4-FFF2-40B4-BE49-F238E27FC236}">
                <a16:creationId xmlns:a16="http://schemas.microsoft.com/office/drawing/2014/main" id="{4BE7368B-E59A-491D-A941-81BA0C464EE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7253288" y="3278188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349D48F-EF48-4744-AACE-4E25D13DC9BE}" type="datetime'''''''''18''''''''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41" name="Text Placeholder 13">
            <a:extLst>
              <a:ext uri="{FF2B5EF4-FFF2-40B4-BE49-F238E27FC236}">
                <a16:creationId xmlns:a16="http://schemas.microsoft.com/office/drawing/2014/main" id="{4CCA6082-BF35-4EF5-B848-51A95FB541E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6616700" y="4410075"/>
            <a:ext cx="1492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6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44822E-F1B8-4C21-B78A-40419EC2119A}" type="datetime'''''''''''''''''''7'''''''''''''''''''''''''''">
              <a:rPr lang="en-US" altLang="en-US" sz="1400" smtClean="0">
                <a:cs typeface="+mn-cs"/>
              </a:rPr>
              <a:pPr/>
              <a:t>7</a:t>
            </a:fld>
            <a:endParaRPr lang="en-US" sz="1400" dirty="0">
              <a:cs typeface="+mn-cs"/>
            </a:endParaRPr>
          </a:p>
        </p:txBody>
      </p:sp>
      <p:sp>
        <p:nvSpPr>
          <p:cNvPr id="325" name="Text Placeholder 13">
            <a:extLst>
              <a:ext uri="{FF2B5EF4-FFF2-40B4-BE49-F238E27FC236}">
                <a16:creationId xmlns:a16="http://schemas.microsoft.com/office/drawing/2014/main" id="{96BF78DF-EDEB-414C-A19B-FAFB0A9C699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928350" y="2111375"/>
            <a:ext cx="212725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594B87-E13F-47B5-8DFF-BD875F715EE8}" type="datetime'''''''''''''''''''1''''''''''2''9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29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28" name="Text Placeholder 13">
            <a:extLst>
              <a:ext uri="{FF2B5EF4-FFF2-40B4-BE49-F238E27FC236}">
                <a16:creationId xmlns:a16="http://schemas.microsoft.com/office/drawing/2014/main" id="{687788E2-849D-40E7-858E-6F40307FA48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874000" y="2530475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4D83735-9978-4350-88B9-B963B00AAFED}" type="datetime'''''''''''''''''3''''''''''''''''''''''8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3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37" name="Text Placeholder 13">
            <a:extLst>
              <a:ext uri="{FF2B5EF4-FFF2-40B4-BE49-F238E27FC236}">
                <a16:creationId xmlns:a16="http://schemas.microsoft.com/office/drawing/2014/main" id="{05840F8B-AEC5-46CB-938D-2BDB7B19B0B2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205663" y="3652838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B7E559-D4C6-4B83-8CF0-5C0CD3F821BF}" type="datetime'''''''''''''''''''''''''''''''''1''''''8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46" name="Text Placeholder 13">
            <a:extLst>
              <a:ext uri="{FF2B5EF4-FFF2-40B4-BE49-F238E27FC236}">
                <a16:creationId xmlns:a16="http://schemas.microsoft.com/office/drawing/2014/main" id="{0A1510DE-ACE0-434A-9BFD-851CC16521B9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742113" y="4821238"/>
            <a:ext cx="212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B78D4D-1B2F-4759-9A94-748F670B71D8}" type="datetime'''''''3'''''''''">
              <a:rPr lang="en-US" altLang="en-US" sz="1400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322" name="Text Placeholder 13">
            <a:extLst>
              <a:ext uri="{FF2B5EF4-FFF2-40B4-BE49-F238E27FC236}">
                <a16:creationId xmlns:a16="http://schemas.microsoft.com/office/drawing/2014/main" id="{58207C1E-64C2-484E-BE6E-6565F3708CE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11496675" y="1738313"/>
            <a:ext cx="212725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D7A503-9F0B-49E3-82CA-CF79ED3EAFCB}" type="datetime'''''''''''''''''1''''''''''4''''''''''''''''''''''''6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46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02584FF3-6C17-4921-8D7B-E6D139E4CBFE}"/>
              </a:ext>
            </a:extLst>
          </p:cNvPr>
          <p:cNvSpPr txBox="1"/>
          <p:nvPr/>
        </p:nvSpPr>
        <p:spPr>
          <a:xfrm>
            <a:off x="402430" y="1044575"/>
            <a:ext cx="3541713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par source et par programme (2019-2022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97" name="Rectangle 396">
            <a:extLst>
              <a:ext uri="{FF2B5EF4-FFF2-40B4-BE49-F238E27FC236}">
                <a16:creationId xmlns:a16="http://schemas.microsoft.com/office/drawing/2014/main" id="{35A13C12-A04E-46CC-8E5C-F2DCE5A93145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9639300" y="2700338"/>
            <a:ext cx="250825" cy="18732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0" name="Rectangle 479">
            <a:extLst>
              <a:ext uri="{FF2B5EF4-FFF2-40B4-BE49-F238E27FC236}">
                <a16:creationId xmlns:a16="http://schemas.microsoft.com/office/drawing/2014/main" id="{3A96D363-2C44-4EE4-8AAE-768A7CBAE883}"/>
              </a:ext>
            </a:extLst>
          </p:cNvPr>
          <p:cNvSpPr/>
          <p:nvPr>
            <p:custDataLst>
              <p:tags r:id="rId47"/>
            </p:custDataLst>
          </p:nvPr>
        </p:nvSpPr>
        <p:spPr bwMode="auto">
          <a:xfrm>
            <a:off x="9639300" y="3490913"/>
            <a:ext cx="250825" cy="187325"/>
          </a:xfrm>
          <a:prstGeom prst="rect">
            <a:avLst/>
          </a:prstGeom>
          <a:solidFill>
            <a:srgbClr val="96969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8" name="Rectangle 397">
            <a:extLst>
              <a:ext uri="{FF2B5EF4-FFF2-40B4-BE49-F238E27FC236}">
                <a16:creationId xmlns:a16="http://schemas.microsoft.com/office/drawing/2014/main" id="{6F8B8323-5089-4A9A-9020-767F9C9D090A}"/>
              </a:ext>
            </a:extLst>
          </p:cNvPr>
          <p:cNvSpPr/>
          <p:nvPr>
            <p:custDataLst>
              <p:tags r:id="rId48"/>
            </p:custDataLst>
          </p:nvPr>
        </p:nvSpPr>
        <p:spPr bwMode="auto">
          <a:xfrm>
            <a:off x="9639300" y="2963863"/>
            <a:ext cx="250825" cy="1873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532961D-5C46-4ECE-A32A-E84662461819}"/>
              </a:ext>
            </a:extLst>
          </p:cNvPr>
          <p:cNvSpPr/>
          <p:nvPr>
            <p:custDataLst>
              <p:tags r:id="rId49"/>
            </p:custDataLst>
          </p:nvPr>
        </p:nvSpPr>
        <p:spPr bwMode="auto">
          <a:xfrm>
            <a:off x="9639300" y="3227388"/>
            <a:ext cx="250825" cy="187325"/>
          </a:xfrm>
          <a:prstGeom prst="rect">
            <a:avLst/>
          </a:prstGeom>
          <a:solidFill>
            <a:srgbClr val="FFC90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1" name="Rectangle 480">
            <a:extLst>
              <a:ext uri="{FF2B5EF4-FFF2-40B4-BE49-F238E27FC236}">
                <a16:creationId xmlns:a16="http://schemas.microsoft.com/office/drawing/2014/main" id="{9C3A9A12-D2C7-448D-BC66-881EB2E062DB}"/>
              </a:ext>
            </a:extLst>
          </p:cNvPr>
          <p:cNvSpPr/>
          <p:nvPr>
            <p:custDataLst>
              <p:tags r:id="rId50"/>
            </p:custDataLst>
          </p:nvPr>
        </p:nvSpPr>
        <p:spPr bwMode="auto">
          <a:xfrm>
            <a:off x="9639300" y="3754438"/>
            <a:ext cx="250825" cy="18732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9" name="Text Placeholder 13">
            <a:extLst>
              <a:ext uri="{FF2B5EF4-FFF2-40B4-BE49-F238E27FC236}">
                <a16:creationId xmlns:a16="http://schemas.microsoft.com/office/drawing/2014/main" id="{EB2869D3-A873-402A-A23E-0638BD8B7B3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940925" y="2695575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4A27D96-C3F3-4895-8E65-D6EE507B7EB8}" type="datetime'''''''''''''E''''''t''''''''''''''''a''t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94" name="Text Placeholder 13">
            <a:extLst>
              <a:ext uri="{FF2B5EF4-FFF2-40B4-BE49-F238E27FC236}">
                <a16:creationId xmlns:a16="http://schemas.microsoft.com/office/drawing/2014/main" id="{9DB19F9F-32C0-4A08-8FF7-8931D411C628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9940925" y="3749675"/>
            <a:ext cx="1065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2AA146-DFB6-4B0F-B69D-080D1C7BCBFC}" type="datetime'''''''''Se''''c''''''t''eu''r P''''''''r''i''''''''''''''v''é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318" name="Text Placeholder 13">
            <a:extLst>
              <a:ext uri="{FF2B5EF4-FFF2-40B4-BE49-F238E27FC236}">
                <a16:creationId xmlns:a16="http://schemas.microsoft.com/office/drawing/2014/main" id="{8D7BBA5E-67AC-4D0B-BA20-BD20A3C7A5F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9940925" y="2959100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66879E-D3F9-4BBB-B828-19B1475D8CDC}" type="datetime'''''''''''''P''''''''''''''''''''T''''''''''''''F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96" name="Text Placeholder 13">
            <a:extLst>
              <a:ext uri="{FF2B5EF4-FFF2-40B4-BE49-F238E27FC236}">
                <a16:creationId xmlns:a16="http://schemas.microsoft.com/office/drawing/2014/main" id="{D7E39D72-42CC-4F55-89EC-F9AAD3AB45E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9940925" y="3486150"/>
            <a:ext cx="18732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906D87F-581C-4F44-9E47-71E7EC42F91D}" type="datetime'''Colle''''cti''''vit''é''s ''''t''e''rri''t''''o''ria''les'''">
              <a:rPr lang="en-US" altLang="en-US" sz="1400" smtClean="0">
                <a:cs typeface="+mn-cs"/>
              </a:rPr>
              <a:pPr/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86" name="Text Placeholder 13">
            <a:extLst>
              <a:ext uri="{FF2B5EF4-FFF2-40B4-BE49-F238E27FC236}">
                <a16:creationId xmlns:a16="http://schemas.microsoft.com/office/drawing/2014/main" id="{0F9CF49B-12BA-4EA3-BF78-33BAC89855F0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940925" y="3222625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C1E347-42E4-4026-8D01-EB9CCF02F616}" type="datetime'''M''''''''''''é''''n''''''''a''''''''''''''g''e''s''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F85ECC6C-1A48-4FD7-A583-64503CF40450}"/>
              </a:ext>
            </a:extLst>
          </p:cNvPr>
          <p:cNvGraphicFramePr/>
          <p:nvPr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1821703226"/>
              </p:ext>
            </p:extLst>
          </p:nvPr>
        </p:nvGraphicFramePr>
        <p:xfrm>
          <a:off x="63500" y="1658938"/>
          <a:ext cx="4219575" cy="3422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0"/>
          </a:graphicData>
        </a:graphic>
      </p:graphicFrame>
      <p:sp>
        <p:nvSpPr>
          <p:cNvPr id="178" name="Text Placeholder 13">
            <a:extLst>
              <a:ext uri="{FF2B5EF4-FFF2-40B4-BE49-F238E27FC236}">
                <a16:creationId xmlns:a16="http://schemas.microsoft.com/office/drawing/2014/main" id="{B88076A5-A550-43E4-9004-7F0D05EFCB9F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396875" y="4856163"/>
            <a:ext cx="307975" cy="212725"/>
          </a:xfrm>
          <a:prstGeom prst="rect">
            <a:avLst/>
          </a:prstGeom>
          <a:solidFill>
            <a:srgbClr val="007770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B4DCBB2-D267-4287-8B7E-5EEAA5635078}" type="datetime'''''''2''%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489" name="Text Placeholder 13">
            <a:extLst>
              <a:ext uri="{FF2B5EF4-FFF2-40B4-BE49-F238E27FC236}">
                <a16:creationId xmlns:a16="http://schemas.microsoft.com/office/drawing/2014/main" id="{6867A489-EC2F-4FDC-B698-2A00ABAC834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87350" y="5127625"/>
            <a:ext cx="3286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55D345-4850-49E3-BEFB-684035F05509}" type="datetime'''''''E''''''''''t''''''a''''''''t'''''''''">
              <a:rPr lang="en-US" altLang="en-US" sz="1400" smtClean="0">
                <a:cs typeface="+mn-cs"/>
              </a:rPr>
              <a:pPr/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301" name="Text Placeholder 13">
            <a:extLst>
              <a:ext uri="{FF2B5EF4-FFF2-40B4-BE49-F238E27FC236}">
                <a16:creationId xmlns:a16="http://schemas.microsoft.com/office/drawing/2014/main" id="{7D12E0EC-BA8C-48BF-8F61-8B6CB2E595FF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023938" y="4484688"/>
            <a:ext cx="307975" cy="212725"/>
          </a:xfrm>
          <a:prstGeom prst="rect">
            <a:avLst/>
          </a:prstGeom>
          <a:solidFill>
            <a:srgbClr val="D6D7D9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2B43CB-827D-488B-9C7C-7EE404072C31}" type="datetime'''''''''''''''''''''3''''''''''''''%'''''">
              <a:rPr lang="en-US" altLang="en-US" sz="1400" smtClean="0"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289" name="Text Placeholder 13">
            <a:extLst>
              <a:ext uri="{FF2B5EF4-FFF2-40B4-BE49-F238E27FC236}">
                <a16:creationId xmlns:a16="http://schemas.microsoft.com/office/drawing/2014/main" id="{3E4276DE-D0FB-4C5A-9074-CF30CC6B4F8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503488" y="5127625"/>
            <a:ext cx="9604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5D61BA-ADFE-4153-AA61-876808134AA4}" type="datetime'''Collect''iv''''ités'' t''e''r''r''''itorial''''''e''''s'">
              <a:rPr lang="en-US" altLang="en-US" sz="1400" smtClean="0">
                <a:cs typeface="+mn-cs"/>
              </a:rPr>
              <a:pPr/>
              <a:t>Collectivités territoriales</a:t>
            </a:fld>
            <a:endParaRPr lang="en-US" sz="1400" dirty="0">
              <a:cs typeface="+mn-cs"/>
            </a:endParaRPr>
          </a:p>
        </p:txBody>
      </p:sp>
      <p:sp>
        <p:nvSpPr>
          <p:cNvPr id="201" name="Text Placeholder 13">
            <a:extLst>
              <a:ext uri="{FF2B5EF4-FFF2-40B4-BE49-F238E27FC236}">
                <a16:creationId xmlns:a16="http://schemas.microsoft.com/office/drawing/2014/main" id="{A519D338-D783-4897-A0C3-F1D5D78FD6F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23938" y="4800600"/>
            <a:ext cx="30797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26066AC-CA2B-4395-A161-A66C5C47FB56}" type="datetime'''''''''4''%'''''''''''''''''''''''''''''''''">
              <a:rPr lang="en-US" altLang="en-US" sz="1400" smtClean="0">
                <a:effectLst/>
                <a:cs typeface="+mn-cs"/>
              </a:rPr>
              <a:pPr/>
              <a:t>4%</a:t>
            </a:fld>
            <a:endParaRPr lang="en-US" sz="1400" dirty="0">
              <a:cs typeface="+mn-cs"/>
            </a:endParaRPr>
          </a:p>
        </p:txBody>
      </p:sp>
      <p:sp>
        <p:nvSpPr>
          <p:cNvPr id="124" name="Text Placeholder 13">
            <a:extLst>
              <a:ext uri="{FF2B5EF4-FFF2-40B4-BE49-F238E27FC236}">
                <a16:creationId xmlns:a16="http://schemas.microsoft.com/office/drawing/2014/main" id="{07141BA3-D98E-4BB7-8BA3-0A07277D9E28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1803400" y="5127625"/>
            <a:ext cx="741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CFF50B-DEA5-4293-889E-22C24AF8EAC2}" type="datetime'''''''''''Mé''''''''''''n''''''''''''''a''''''g''''''es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300" name="Text Placeholder 13">
            <a:extLst>
              <a:ext uri="{FF2B5EF4-FFF2-40B4-BE49-F238E27FC236}">
                <a16:creationId xmlns:a16="http://schemas.microsoft.com/office/drawing/2014/main" id="{868F91CD-A4C3-4553-AE02-ED1A2AFE6570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1208088" y="1663700"/>
            <a:ext cx="30797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744C15-0CDE-4E5E-AE5A-F3E64AF48C10}" type="datetime'2''%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296" name="Text Placeholder 13">
            <a:extLst>
              <a:ext uri="{FF2B5EF4-FFF2-40B4-BE49-F238E27FC236}">
                <a16:creationId xmlns:a16="http://schemas.microsoft.com/office/drawing/2014/main" id="{1A0B6BBB-AD32-462F-95AC-38BE40987E9A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3640138" y="4843463"/>
            <a:ext cx="30797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0C65928-560E-4015-9F51-4526E2F7EDCC}" type="datetime'''''''''3''''''%'''''''''''''''''">
              <a:rPr lang="en-US" altLang="en-US" sz="1400" smtClean="0">
                <a:effectLst/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505" name="Text Placeholder 13">
            <a:extLst>
              <a:ext uri="{FF2B5EF4-FFF2-40B4-BE49-F238E27FC236}">
                <a16:creationId xmlns:a16="http://schemas.microsoft.com/office/drawing/2014/main" id="{A561376E-421C-43CB-AD48-99DCBC61D091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189038" y="5127625"/>
            <a:ext cx="347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7D2D15-ADB1-4EDC-9A2A-DA4E02C66B62}" type="datetime'''''''''''PT''''''''''''''''''''''''''''''''''''''''''F'''''''">
              <a:rPr lang="en-US" altLang="en-US" sz="1400" smtClean="0">
                <a:cs typeface="+mn-cs"/>
              </a:rPr>
              <a:pPr/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290" name="Text Placeholder 13">
            <a:extLst>
              <a:ext uri="{FF2B5EF4-FFF2-40B4-BE49-F238E27FC236}">
                <a16:creationId xmlns:a16="http://schemas.microsoft.com/office/drawing/2014/main" id="{CB1BB43F-D3C2-435A-8718-0384150AE898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482975" y="5127624"/>
            <a:ext cx="6238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187C05C-F5D3-432B-A649-6FBDB6AD86F9}" type="datetime'''''''''''Se''''c''te''''''''''''u''r'''''' ''Pri''vé''''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603" name="Rectangle 602">
            <a:extLst>
              <a:ext uri="{FF2B5EF4-FFF2-40B4-BE49-F238E27FC236}">
                <a16:creationId xmlns:a16="http://schemas.microsoft.com/office/drawing/2014/main" id="{07D1011D-4EDD-4A18-9788-9252A84AC2EC}"/>
              </a:ext>
            </a:extLst>
          </p:cNvPr>
          <p:cNvSpPr/>
          <p:nvPr>
            <p:custDataLst>
              <p:tags r:id="rId67"/>
            </p:custDataLst>
          </p:nvPr>
        </p:nvSpPr>
        <p:spPr bwMode="auto">
          <a:xfrm>
            <a:off x="280988" y="6051550"/>
            <a:ext cx="250825" cy="187325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1" name="Rectangle 600">
            <a:extLst>
              <a:ext uri="{FF2B5EF4-FFF2-40B4-BE49-F238E27FC236}">
                <a16:creationId xmlns:a16="http://schemas.microsoft.com/office/drawing/2014/main" id="{D0802F58-4447-4044-8793-5ECB59503232}"/>
              </a:ext>
            </a:extLst>
          </p:cNvPr>
          <p:cNvSpPr/>
          <p:nvPr>
            <p:custDataLst>
              <p:tags r:id="rId68"/>
            </p:custDataLst>
          </p:nvPr>
        </p:nvSpPr>
        <p:spPr bwMode="auto">
          <a:xfrm>
            <a:off x="280988" y="5524500"/>
            <a:ext cx="250825" cy="187325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2" name="Rectangle 601">
            <a:extLst>
              <a:ext uri="{FF2B5EF4-FFF2-40B4-BE49-F238E27FC236}">
                <a16:creationId xmlns:a16="http://schemas.microsoft.com/office/drawing/2014/main" id="{8535DCF0-E25D-4FF3-93B4-545E1AF3A72F}"/>
              </a:ext>
            </a:extLst>
          </p:cNvPr>
          <p:cNvSpPr/>
          <p:nvPr>
            <p:custDataLst>
              <p:tags r:id="rId69"/>
            </p:custDataLst>
          </p:nvPr>
        </p:nvSpPr>
        <p:spPr bwMode="auto">
          <a:xfrm>
            <a:off x="280988" y="5788025"/>
            <a:ext cx="250825" cy="187325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4" name="Rectangle 603">
            <a:extLst>
              <a:ext uri="{FF2B5EF4-FFF2-40B4-BE49-F238E27FC236}">
                <a16:creationId xmlns:a16="http://schemas.microsoft.com/office/drawing/2014/main" id="{397A65B8-3D1B-4446-91D8-16704C13940B}"/>
              </a:ext>
            </a:extLst>
          </p:cNvPr>
          <p:cNvSpPr/>
          <p:nvPr>
            <p:custDataLst>
              <p:tags r:id="rId70"/>
            </p:custDataLst>
          </p:nvPr>
        </p:nvSpPr>
        <p:spPr bwMode="auto">
          <a:xfrm>
            <a:off x="280988" y="6315075"/>
            <a:ext cx="250825" cy="187325"/>
          </a:xfrm>
          <a:prstGeom prst="rect">
            <a:avLst/>
          </a:prstGeom>
          <a:solidFill>
            <a:schemeClr val="accent4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5" name="Rectangle 604">
            <a:extLst>
              <a:ext uri="{FF2B5EF4-FFF2-40B4-BE49-F238E27FC236}">
                <a16:creationId xmlns:a16="http://schemas.microsoft.com/office/drawing/2014/main" id="{D01EBB8B-CC3C-4886-A8C2-271316F48E04}"/>
              </a:ext>
            </a:extLst>
          </p:cNvPr>
          <p:cNvSpPr/>
          <p:nvPr>
            <p:custDataLst>
              <p:tags r:id="rId71"/>
            </p:custDataLst>
          </p:nvPr>
        </p:nvSpPr>
        <p:spPr bwMode="auto">
          <a:xfrm>
            <a:off x="280988" y="6578600"/>
            <a:ext cx="250825" cy="187325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6" name="Rectangle 605">
            <a:extLst>
              <a:ext uri="{FF2B5EF4-FFF2-40B4-BE49-F238E27FC236}">
                <a16:creationId xmlns:a16="http://schemas.microsoft.com/office/drawing/2014/main" id="{EFFADB0F-4F79-4377-8697-B1DFD5E03AD1}"/>
              </a:ext>
            </a:extLst>
          </p:cNvPr>
          <p:cNvSpPr/>
          <p:nvPr>
            <p:custDataLst>
              <p:tags r:id="rId72"/>
            </p:custDataLst>
          </p:nvPr>
        </p:nvSpPr>
        <p:spPr bwMode="auto">
          <a:xfrm>
            <a:off x="2546350" y="5524500"/>
            <a:ext cx="250825" cy="187325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7" name="Rectangle 606">
            <a:extLst>
              <a:ext uri="{FF2B5EF4-FFF2-40B4-BE49-F238E27FC236}">
                <a16:creationId xmlns:a16="http://schemas.microsoft.com/office/drawing/2014/main" id="{64893811-3D19-4FE7-9551-55C5CD431EE7}"/>
              </a:ext>
            </a:extLst>
          </p:cNvPr>
          <p:cNvSpPr/>
          <p:nvPr>
            <p:custDataLst>
              <p:tags r:id="rId73"/>
            </p:custDataLst>
          </p:nvPr>
        </p:nvSpPr>
        <p:spPr bwMode="auto">
          <a:xfrm>
            <a:off x="2546350" y="5788025"/>
            <a:ext cx="250825" cy="1873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8" name="Rectangle 607">
            <a:extLst>
              <a:ext uri="{FF2B5EF4-FFF2-40B4-BE49-F238E27FC236}">
                <a16:creationId xmlns:a16="http://schemas.microsoft.com/office/drawing/2014/main" id="{79F4E1B9-FEA9-4B08-AA06-F36EA0EE2704}"/>
              </a:ext>
            </a:extLst>
          </p:cNvPr>
          <p:cNvSpPr/>
          <p:nvPr>
            <p:custDataLst>
              <p:tags r:id="rId74"/>
            </p:custDataLst>
          </p:nvPr>
        </p:nvSpPr>
        <p:spPr bwMode="auto">
          <a:xfrm>
            <a:off x="2546350" y="6051550"/>
            <a:ext cx="250825" cy="1873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9" name="Rectangle 608">
            <a:extLst>
              <a:ext uri="{FF2B5EF4-FFF2-40B4-BE49-F238E27FC236}">
                <a16:creationId xmlns:a16="http://schemas.microsoft.com/office/drawing/2014/main" id="{DB58A3E9-47DC-4CF0-A0FA-75F7A40F08C7}"/>
              </a:ext>
            </a:extLst>
          </p:cNvPr>
          <p:cNvSpPr/>
          <p:nvPr>
            <p:custDataLst>
              <p:tags r:id="rId75"/>
            </p:custDataLst>
          </p:nvPr>
        </p:nvSpPr>
        <p:spPr bwMode="auto">
          <a:xfrm>
            <a:off x="2546350" y="6315075"/>
            <a:ext cx="250825" cy="187325"/>
          </a:xfrm>
          <a:prstGeom prst="rect">
            <a:avLst/>
          </a:prstGeom>
          <a:solidFill>
            <a:srgbClr val="00777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8" name="Text Placeholder 13">
            <a:extLst>
              <a:ext uri="{FF2B5EF4-FFF2-40B4-BE49-F238E27FC236}">
                <a16:creationId xmlns:a16="http://schemas.microsoft.com/office/drawing/2014/main" id="{55CCEC30-99F6-4595-94B9-827048737EA3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82613" y="5519738"/>
            <a:ext cx="18621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BCC3060-F6E3-42B2-9D10-52A7E6A404C2}" type="datetime'''''So''ins de'''''' ''s''''''anté'' ''pri''''''''mair''e'''">
              <a:rPr lang="en-US" altLang="en-US" sz="1400" smtClean="0">
                <a:cs typeface="+mn-cs"/>
              </a:rPr>
              <a:pPr/>
              <a:t>Soins de santé primaire</a:t>
            </a:fld>
            <a:endParaRPr lang="en-US" sz="1400" dirty="0">
              <a:cs typeface="+mn-cs"/>
            </a:endParaRPr>
          </a:p>
        </p:txBody>
      </p:sp>
      <p:sp>
        <p:nvSpPr>
          <p:cNvPr id="494" name="Text Placeholder 13">
            <a:extLst>
              <a:ext uri="{FF2B5EF4-FFF2-40B4-BE49-F238E27FC236}">
                <a16:creationId xmlns:a16="http://schemas.microsoft.com/office/drawing/2014/main" id="{E127292B-4A96-4A47-8762-18A0BE00460E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82613" y="5783263"/>
            <a:ext cx="692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917B70B-A1DB-4714-947B-FBA46969E65D}" type="datetime'''''''''''''''SR''''''''M''N''IA'''">
              <a:rPr lang="en-US" altLang="en-US" sz="1400" smtClean="0">
                <a:cs typeface="+mn-cs"/>
              </a:rPr>
              <a:pPr/>
              <a:t>SRMNIA</a:t>
            </a:fld>
            <a:endParaRPr lang="en-US" sz="1400" dirty="0">
              <a:cs typeface="+mn-cs"/>
            </a:endParaRPr>
          </a:p>
        </p:txBody>
      </p:sp>
      <p:sp>
        <p:nvSpPr>
          <p:cNvPr id="518" name="Text Placeholder 13">
            <a:extLst>
              <a:ext uri="{FF2B5EF4-FFF2-40B4-BE49-F238E27FC236}">
                <a16:creationId xmlns:a16="http://schemas.microsoft.com/office/drawing/2014/main" id="{F7BD855B-8912-40D8-9227-243D264F8932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82613" y="6573838"/>
            <a:ext cx="11366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22C7011-84B2-4534-A615-4708D98E1106}" type="datetime'''''''V''I''''''''''''H'', ''''S''I''DA/''''''''''''''IST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IH, SIDA/IST</a:t>
            </a:fld>
            <a:endParaRPr lang="en-US" sz="1400" dirty="0">
              <a:cs typeface="+mn-cs"/>
            </a:endParaRPr>
          </a:p>
        </p:txBody>
      </p:sp>
      <p:sp>
        <p:nvSpPr>
          <p:cNvPr id="495" name="Text Placeholder 13">
            <a:extLst>
              <a:ext uri="{FF2B5EF4-FFF2-40B4-BE49-F238E27FC236}">
                <a16:creationId xmlns:a16="http://schemas.microsoft.com/office/drawing/2014/main" id="{A74D61A2-65A0-4E3F-8C41-51D4C8000BEB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582613" y="6046788"/>
            <a:ext cx="904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3C8675A-6DF1-4C2F-A659-6F289C7F36A1}" type="datetime'''V''''''''acc''''''''''i''n''''''''at''i''''''''o''n'">
              <a:rPr lang="fr-FR" altLang="en-US" sz="1400" smtClean="0">
                <a:cs typeface="+mn-cs"/>
              </a:rPr>
              <a:pPr/>
              <a:t>Vaccination</a:t>
            </a:fld>
            <a:endParaRPr lang="en-US" sz="1400" dirty="0">
              <a:cs typeface="+mn-cs"/>
            </a:endParaRPr>
          </a:p>
        </p:txBody>
      </p:sp>
      <p:sp>
        <p:nvSpPr>
          <p:cNvPr id="517" name="Text Placeholder 13">
            <a:extLst>
              <a:ext uri="{FF2B5EF4-FFF2-40B4-BE49-F238E27FC236}">
                <a16:creationId xmlns:a16="http://schemas.microsoft.com/office/drawing/2014/main" id="{E11A48A2-A999-459F-AE31-C8EF88A0FA8D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582613" y="6310313"/>
            <a:ext cx="3667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72AB6EE-CF4D-4BF8-BFF7-138FF43208C6}" type="datetime'''R''''''''''''''''''''''''''''''''S''''S'">
              <a:rPr lang="fr-FR" altLang="en-US" sz="1400" smtClean="0">
                <a:cs typeface="+mn-cs"/>
              </a:rPr>
              <a:pPr/>
              <a:t>RSS</a:t>
            </a:fld>
            <a:endParaRPr lang="en-US" sz="1400" dirty="0">
              <a:cs typeface="+mn-cs"/>
            </a:endParaRPr>
          </a:p>
        </p:txBody>
      </p:sp>
      <p:sp>
        <p:nvSpPr>
          <p:cNvPr id="519" name="Text Placeholder 13">
            <a:extLst>
              <a:ext uri="{FF2B5EF4-FFF2-40B4-BE49-F238E27FC236}">
                <a16:creationId xmlns:a16="http://schemas.microsoft.com/office/drawing/2014/main" id="{CD140FF0-3B47-4AC5-89CC-A66A3D4C1BC5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2847975" y="5519738"/>
            <a:ext cx="14303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00544DB-12F9-4651-8FF3-A6CA80B686EA}" type="datetime'Pro''''''''''''tect''''''io''n'' ''''S''ocial''''e'">
              <a:rPr lang="en-US" altLang="en-US" sz="1400" smtClean="0">
                <a:cs typeface="+mn-cs"/>
              </a:rPr>
              <a:pPr/>
              <a:t>Protection Sociale</a:t>
            </a:fld>
            <a:endParaRPr lang="en-US" sz="1400" dirty="0">
              <a:cs typeface="+mn-cs"/>
            </a:endParaRPr>
          </a:p>
        </p:txBody>
      </p:sp>
      <p:sp>
        <p:nvSpPr>
          <p:cNvPr id="520" name="Text Placeholder 13">
            <a:extLst>
              <a:ext uri="{FF2B5EF4-FFF2-40B4-BE49-F238E27FC236}">
                <a16:creationId xmlns:a16="http://schemas.microsoft.com/office/drawing/2014/main" id="{4FD1BCC4-EE96-4614-959F-1F6570040E19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2847975" y="5783263"/>
            <a:ext cx="660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70750A1-565A-4577-911F-B1BB1BCD9B72}" type="datetime'''''Nut''r''''''''''''i''''t''''''''''''''''i''o''''''''n'''''">
              <a:rPr lang="en-US" altLang="en-US" sz="1400" smtClean="0">
                <a:cs typeface="+mn-cs"/>
              </a:rPr>
              <a:pPr/>
              <a:t>Nutrition</a:t>
            </a:fld>
            <a:endParaRPr lang="en-US" sz="1400" dirty="0">
              <a:cs typeface="+mn-cs"/>
            </a:endParaRPr>
          </a:p>
        </p:txBody>
      </p:sp>
      <p:sp>
        <p:nvSpPr>
          <p:cNvPr id="521" name="Text Placeholder 13">
            <a:extLst>
              <a:ext uri="{FF2B5EF4-FFF2-40B4-BE49-F238E27FC236}">
                <a16:creationId xmlns:a16="http://schemas.microsoft.com/office/drawing/2014/main" id="{B719140E-2634-4BF1-B8D6-426AFF0CD759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2847975" y="6046788"/>
            <a:ext cx="828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216079-3128-4A18-B16D-1FBFED2A016F}" type="datetime'''''''P''''a''''''''''''''''''''l''''''ud''i''''sm''''''''e'">
              <a:rPr lang="en-US" altLang="en-US" sz="1400" smtClean="0">
                <a:cs typeface="+mn-cs"/>
              </a:rPr>
              <a:pPr/>
              <a:t>Paludisme</a:t>
            </a:fld>
            <a:endParaRPr lang="en-US" sz="1400" dirty="0">
              <a:cs typeface="+mn-cs"/>
            </a:endParaRPr>
          </a:p>
        </p:txBody>
      </p:sp>
      <p:sp>
        <p:nvSpPr>
          <p:cNvPr id="522" name="Text Placeholder 13">
            <a:extLst>
              <a:ext uri="{FF2B5EF4-FFF2-40B4-BE49-F238E27FC236}">
                <a16:creationId xmlns:a16="http://schemas.microsoft.com/office/drawing/2014/main" id="{B668DD66-B729-480E-A4E3-AB9241710248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2847975" y="6310313"/>
            <a:ext cx="384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D4034EB-639E-427F-97CF-E7A6847C6120}" type="datetime'''M''''''''N''''''''''''T'">
              <a:rPr lang="en-US" altLang="en-US" sz="1400" smtClean="0">
                <a:cs typeface="+mn-cs"/>
              </a:rPr>
              <a:pPr/>
              <a:t>MNT</a:t>
            </a:fld>
            <a:endParaRPr lang="en-US" sz="1400" dirty="0">
              <a:cs typeface="+mn-cs"/>
            </a:endParaRPr>
          </a:p>
        </p:txBody>
      </p:sp>
      <p:cxnSp>
        <p:nvCxnSpPr>
          <p:cNvPr id="649" name="Straight Connector 648">
            <a:extLst>
              <a:ext uri="{FF2B5EF4-FFF2-40B4-BE49-F238E27FC236}">
                <a16:creationId xmlns:a16="http://schemas.microsoft.com/office/drawing/2014/main" id="{8A365820-FDB2-4EEF-A4D6-3D14D80ED034}"/>
              </a:ext>
            </a:extLst>
          </p:cNvPr>
          <p:cNvCxnSpPr>
            <a:cxnSpLocks/>
          </p:cNvCxnSpPr>
          <p:nvPr/>
        </p:nvCxnSpPr>
        <p:spPr>
          <a:xfrm>
            <a:off x="4295812" y="1144846"/>
            <a:ext cx="0" cy="38782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1" name="TextBox 650">
            <a:extLst>
              <a:ext uri="{FF2B5EF4-FFF2-40B4-BE49-F238E27FC236}">
                <a16:creationId xmlns:a16="http://schemas.microsoft.com/office/drawing/2014/main" id="{D76C3B3F-6738-4A71-AF1F-5A99CB21178A}"/>
              </a:ext>
            </a:extLst>
          </p:cNvPr>
          <p:cNvSpPr txBox="1">
            <a:spLocks noChangeAspect="1"/>
          </p:cNvSpPr>
          <p:nvPr/>
        </p:nvSpPr>
        <p:spPr>
          <a:xfrm>
            <a:off x="4589464" y="5260975"/>
            <a:ext cx="7242559" cy="14509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Contribution modeste de l'Etat dans le DI SRMNIA, compensée par une forte contribution des PTF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fr-FR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fr-FR" dirty="0">
                <a:solidFill>
                  <a:schemeClr val="tx1"/>
                </a:solidFill>
              </a:rPr>
              <a:t>Les données des Ménages et CT ne permettent pas de désagréger par domaine programmatique. 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1" name="Title 2">
            <a:extLst>
              <a:ext uri="{FF2B5EF4-FFF2-40B4-BE49-F238E27FC236}">
                <a16:creationId xmlns:a16="http://schemas.microsoft.com/office/drawing/2014/main" id="{0D2D8F30-9184-4A0B-AD30-D0A749138999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u DI SRMNIA-N par catégorie de programmes et par source de financement (2019-2022)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3B6C15DA-F5D1-45CA-B4A6-CD7264DD2766}"/>
              </a:ext>
            </a:extLst>
          </p:cNvPr>
          <p:cNvSpPr txBox="1"/>
          <p:nvPr/>
        </p:nvSpPr>
        <p:spPr>
          <a:xfrm>
            <a:off x="4830763" y="1057275"/>
            <a:ext cx="7054850" cy="584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par source de financement et par programme (Milliards CFA) (2019-2022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45738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FBBD3A3-2F8D-400D-BB2E-1DEFC508CD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869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90" imgW="416" imgH="416" progId="TCLayout.ActiveDocument.1">
                  <p:embed/>
                </p:oleObj>
              </mc:Choice>
              <mc:Fallback>
                <p:oleObj name="think-cell Slide" r:id="rId9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8" name="Chart 217">
            <a:extLst>
              <a:ext uri="{FF2B5EF4-FFF2-40B4-BE49-F238E27FC236}">
                <a16:creationId xmlns:a16="http://schemas.microsoft.com/office/drawing/2014/main" id="{1AEC6B4B-342A-4F78-87E2-41B560772D74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10067617"/>
              </p:ext>
            </p:extLst>
          </p:nvPr>
        </p:nvGraphicFramePr>
        <p:xfrm>
          <a:off x="3787775" y="1646238"/>
          <a:ext cx="7937500" cy="507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84271BA-83D2-47A2-AC11-0C20D3E5FCA1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5199063" y="5308601"/>
            <a:ext cx="0" cy="158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D97761E9-94C2-4E57-9BB3-08891DC11C8D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 flipV="1">
            <a:off x="3946525" y="6591299"/>
            <a:ext cx="103188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E769CBB-4763-46D4-BB8D-59B21381FB7D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3878263" y="5580063"/>
            <a:ext cx="55721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1CEED397-FE07-4B24-A1CD-F04D01BE54F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4135438" y="5264150"/>
            <a:ext cx="4286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619EE75-487E-4366-A09D-2F459E894CF1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4432300" y="5324475"/>
            <a:ext cx="7667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DD663C37-147E-418D-9CB5-4111CE89E7B4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581650" y="5308600"/>
            <a:ext cx="0" cy="762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F3A0571D-D35C-4189-84F1-F3C55ABE316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4513263" y="5384800"/>
            <a:ext cx="10683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79CF17FD-053F-421C-A6DA-61BE17CE3B2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915025" y="5308600"/>
            <a:ext cx="0" cy="13652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E6566CA-5561-4C6C-9BB9-10ED2E2826D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4529138" y="5445125"/>
            <a:ext cx="13858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A395D4C2-D500-499A-B798-BE25518C502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 flipV="1">
            <a:off x="3960813" y="6591299"/>
            <a:ext cx="242888" cy="698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9" name="Straight Connector 208">
            <a:extLst>
              <a:ext uri="{FF2B5EF4-FFF2-40B4-BE49-F238E27FC236}">
                <a16:creationId xmlns:a16="http://schemas.microsoft.com/office/drawing/2014/main" id="{907B0BAF-25A3-45FE-A759-781F14B64BFC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4397375" y="4070350"/>
            <a:ext cx="60325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2" name="Text Placeholder 13">
            <a:extLst>
              <a:ext uri="{FF2B5EF4-FFF2-40B4-BE49-F238E27FC236}">
                <a16:creationId xmlns:a16="http://schemas.microsoft.com/office/drawing/2014/main" id="{7AF27B2B-B7FA-46BA-81FD-B8FF716C14F5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9172575" y="2179639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86A373-139C-43D5-A6DA-07C63E75EF20}" type="datetime'''''''''''''8''0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80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00" name="Text Placeholder 13">
            <a:extLst>
              <a:ext uri="{FF2B5EF4-FFF2-40B4-BE49-F238E27FC236}">
                <a16:creationId xmlns:a16="http://schemas.microsoft.com/office/drawing/2014/main" id="{E9F1BA33-3771-436E-8275-7CC4686B09E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564063" y="50958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C83BD00-7B05-4B3A-A026-7C4575E733F5}" type="datetime'''''''''''''''''''''3''''7''''''''''''%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7%</a:t>
            </a:fld>
            <a:endParaRPr lang="en-US" sz="1400" dirty="0">
              <a:cs typeface="+mn-cs"/>
            </a:endParaRPr>
          </a:p>
        </p:txBody>
      </p:sp>
      <p:sp>
        <p:nvSpPr>
          <p:cNvPr id="72" name="Text Placeholder 13">
            <a:extLst>
              <a:ext uri="{FF2B5EF4-FFF2-40B4-BE49-F238E27FC236}">
                <a16:creationId xmlns:a16="http://schemas.microsoft.com/office/drawing/2014/main" id="{358E9E24-7061-4D48-82E2-ABCA9C39FF9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068763" y="44545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86000F-3D6F-48C8-A90F-81316C3819EF}" type="datetime'''''''''''''''''''''''''92''''''%''''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2%</a:t>
            </a:fld>
            <a:endParaRPr lang="en-US" sz="1400" dirty="0">
              <a:cs typeface="+mn-cs"/>
            </a:endParaRPr>
          </a:p>
        </p:txBody>
      </p:sp>
      <p:sp>
        <p:nvSpPr>
          <p:cNvPr id="90" name="Text Placeholder 13">
            <a:extLst>
              <a:ext uri="{FF2B5EF4-FFF2-40B4-BE49-F238E27FC236}">
                <a16:creationId xmlns:a16="http://schemas.microsoft.com/office/drawing/2014/main" id="{DC2F2967-1060-42DA-90FD-28520EBBFD1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6154738" y="21891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93DB5F-B574-4808-8E1E-BDC8E31C9446}" type="datetime'''''''''''''''''''2''''''''1%'''''''''''''''''''">
              <a:rPr lang="en-US" altLang="en-US" sz="1400" smtClean="0">
                <a:cs typeface="+mn-cs"/>
              </a:rPr>
              <a:pPr/>
              <a:t>21%</a:t>
            </a:fld>
            <a:endParaRPr lang="en-US" sz="1400" dirty="0">
              <a:cs typeface="+mn-cs"/>
            </a:endParaRPr>
          </a:p>
        </p:txBody>
      </p:sp>
      <p:sp>
        <p:nvSpPr>
          <p:cNvPr id="91" name="Text Placeholder 13">
            <a:extLst>
              <a:ext uri="{FF2B5EF4-FFF2-40B4-BE49-F238E27FC236}">
                <a16:creationId xmlns:a16="http://schemas.microsoft.com/office/drawing/2014/main" id="{6E39C371-8209-4308-B0B7-59DFC884B9D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632325" y="21891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889277-1677-49C5-B1A1-4DB68C69BAAD}" type="datetime'''''''''''''''''''''''''''3''''''7''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37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A84702EB-4F98-4FDB-9ECD-600F31242D12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79625" y="2205038"/>
            <a:ext cx="1501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F7A6F1F-4F82-4DCE-B977-B731F076421C}" type="datetime'''R''''esso''''u''''rc''''''''e''s'' ''h''''''''uma''in''es'">
              <a:rPr lang="en-US" altLang="en-US" sz="1200" smtClean="0">
                <a:cs typeface="+mn-cs"/>
              </a:rPr>
              <a:pPr/>
              <a:t>Ressources humaines</a:t>
            </a:fld>
            <a:endParaRPr lang="en-US" sz="1200" dirty="0">
              <a:cs typeface="+mn-cs"/>
            </a:endParaRPr>
          </a:p>
        </p:txBody>
      </p:sp>
      <p:sp>
        <p:nvSpPr>
          <p:cNvPr id="92" name="Text Placeholder 13">
            <a:extLst>
              <a:ext uri="{FF2B5EF4-FFF2-40B4-BE49-F238E27FC236}">
                <a16:creationId xmlns:a16="http://schemas.microsoft.com/office/drawing/2014/main" id="{E6D67376-C32A-4CC8-B6A6-20CD15B35DAC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005388" y="25669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FB6F2DD-982E-4E67-8DF0-3D4B00B6474D}" type="datetime'6''''''''''5''%'''''''''''''''">
              <a:rPr lang="en-US" altLang="en-US" sz="1400" smtClean="0">
                <a:cs typeface="+mn-cs"/>
              </a:rPr>
              <a:pPr/>
              <a:t>65%</a:t>
            </a:fld>
            <a:endParaRPr lang="en-US" sz="1400" dirty="0">
              <a:cs typeface="+mn-cs"/>
            </a:endParaRPr>
          </a:p>
        </p:txBody>
      </p:sp>
      <p:sp>
        <p:nvSpPr>
          <p:cNvPr id="111" name="Text Placeholder 13">
            <a:extLst>
              <a:ext uri="{FF2B5EF4-FFF2-40B4-BE49-F238E27FC236}">
                <a16:creationId xmlns:a16="http://schemas.microsoft.com/office/drawing/2014/main" id="{D4F5D89D-B25D-482E-AFF4-2429458EFB5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196013" y="2935289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AF4F08-19D0-45DD-8A75-38A5CEBF1A97}" type="datetime'''''''''''3''''''''''''''''''''''''''''''''5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35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93" name="Text Placeholder 13">
            <a:extLst>
              <a:ext uri="{FF2B5EF4-FFF2-40B4-BE49-F238E27FC236}">
                <a16:creationId xmlns:a16="http://schemas.microsoft.com/office/drawing/2014/main" id="{BA1D5FBA-1B2C-4E6C-B589-BC4F915CA27F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603750" y="2944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677DE1-CB55-47B3-BF67-2985A55F93A2}" type="datetime'''''3''''''9''''''''''''''''''%'''''''''''''''''''''''">
              <a:rPr lang="en-US" altLang="en-US" sz="1400" smtClean="0">
                <a:cs typeface="+mn-cs"/>
              </a:rPr>
              <a:pPr/>
              <a:t>39%</a:t>
            </a:fld>
            <a:endParaRPr lang="en-US" sz="1400" dirty="0">
              <a:cs typeface="+mn-cs"/>
            </a:endParaRPr>
          </a:p>
        </p:txBody>
      </p:sp>
      <p:sp>
        <p:nvSpPr>
          <p:cNvPr id="97" name="Text Placeholder 13">
            <a:extLst>
              <a:ext uri="{FF2B5EF4-FFF2-40B4-BE49-F238E27FC236}">
                <a16:creationId xmlns:a16="http://schemas.microsoft.com/office/drawing/2014/main" id="{54D9DFC7-1B10-44B8-948F-371EA432F54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735388" y="4076700"/>
            <a:ext cx="393700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4FE812-D41D-4321-95FD-5CC166F0119E}" type="datetime'1''''''''1''''''''''%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1" name="Text Placeholder 13">
            <a:extLst>
              <a:ext uri="{FF2B5EF4-FFF2-40B4-BE49-F238E27FC236}">
                <a16:creationId xmlns:a16="http://schemas.microsoft.com/office/drawing/2014/main" id="{AA003B69-D0DD-4827-A56A-3D6400D8F0A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713163" y="5210175"/>
            <a:ext cx="406400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06E8C1-7729-4060-9D43-8B25A932C8D9}" type="datetime'''''''''''1''''4''''''''''''''''''''''''''''''''''%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75" name="Text Placeholder 13">
            <a:extLst>
              <a:ext uri="{FF2B5EF4-FFF2-40B4-BE49-F238E27FC236}">
                <a16:creationId xmlns:a16="http://schemas.microsoft.com/office/drawing/2014/main" id="{D100B41E-D767-443A-B08A-559EB8A653A0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911600" y="2944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545A05-F11A-4E2C-BA5D-E4E5477646D7}" type="datetime'''''''''''2''''''''''''''''''''''1''''''''%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21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50" name="Text Placeholder 13">
            <a:extLst>
              <a:ext uri="{FF2B5EF4-FFF2-40B4-BE49-F238E27FC236}">
                <a16:creationId xmlns:a16="http://schemas.microsoft.com/office/drawing/2014/main" id="{1238163A-133C-40EF-9991-29BE0920607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702050" y="6343650"/>
            <a:ext cx="406400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0A1EB7-408D-47F4-B7E1-938236DE1E52}" type="datetime'''''''''''7''''''''''''''''''''''''3''''%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73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2" name="Text Placeholder 13">
            <a:extLst>
              <a:ext uri="{FF2B5EF4-FFF2-40B4-BE49-F238E27FC236}">
                <a16:creationId xmlns:a16="http://schemas.microsoft.com/office/drawing/2014/main" id="{2108F9E2-D5AD-4798-8FD6-2CD88209E9DC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3944938" y="55880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587392-7D45-46C0-9622-E0B8502C9F51}" type="datetime'''''''''''''9''''7%'''''''''">
              <a:rPr lang="en-US" altLang="en-US" sz="1400" smtClean="0">
                <a:cs typeface="+mn-cs"/>
              </a:rPr>
              <a:pPr/>
              <a:t>97%</a:t>
            </a:fld>
            <a:endParaRPr lang="en-US" sz="1400" dirty="0">
              <a:cs typeface="+mn-cs"/>
            </a:endParaRPr>
          </a:p>
        </p:txBody>
      </p:sp>
      <p:sp>
        <p:nvSpPr>
          <p:cNvPr id="94" name="Text Placeholder 13">
            <a:extLst>
              <a:ext uri="{FF2B5EF4-FFF2-40B4-BE49-F238E27FC236}">
                <a16:creationId xmlns:a16="http://schemas.microsoft.com/office/drawing/2014/main" id="{567CE642-51BA-4AE4-85BE-396B4A10CAC9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702175" y="33226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0112F7-E543-4A7F-AE49-F15EFA65F364}" type="datetime'''''''''''9''''''''''''3''''''''''''''%'''''''">
              <a:rPr lang="en-US" altLang="en-US" sz="1400" smtClean="0">
                <a:cs typeface="+mn-cs"/>
              </a:rPr>
              <a:pPr/>
              <a:t>93%</a:t>
            </a:fld>
            <a:endParaRPr lang="en-US" sz="1400" dirty="0">
              <a:cs typeface="+mn-cs"/>
            </a:endParaRPr>
          </a:p>
        </p:txBody>
      </p:sp>
      <p:sp>
        <p:nvSpPr>
          <p:cNvPr id="76" name="Text Placeholder 13">
            <a:extLst>
              <a:ext uri="{FF2B5EF4-FFF2-40B4-BE49-F238E27FC236}">
                <a16:creationId xmlns:a16="http://schemas.microsoft.com/office/drawing/2014/main" id="{CE866C6A-3757-4ECE-866A-4492766E728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736975" y="3322638"/>
            <a:ext cx="3079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AB5B76-EBB8-4632-93A5-71FA1EED110A}" type="datetime'''''''2''%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5" name="Text Placeholder 13">
            <a:extLst>
              <a:ext uri="{FF2B5EF4-FFF2-40B4-BE49-F238E27FC236}">
                <a16:creationId xmlns:a16="http://schemas.microsoft.com/office/drawing/2014/main" id="{C0785BBA-4BBC-4EC5-B75E-C1AF296150F0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675188" y="37004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5CAD2A3-818C-4E68-961D-563E2CDB77F4}" type="datetime'''''''''''''''''''''''''9''''''''''6''''''%'''''''''">
              <a:rPr lang="en-US" altLang="en-US" sz="1400" smtClean="0">
                <a:cs typeface="+mn-cs"/>
              </a:rPr>
              <a:pPr/>
              <a:t>96%</a:t>
            </a:fld>
            <a:endParaRPr lang="en-US" sz="1400" dirty="0">
              <a:cs typeface="+mn-cs"/>
            </a:endParaRPr>
          </a:p>
        </p:txBody>
      </p:sp>
      <p:sp>
        <p:nvSpPr>
          <p:cNvPr id="103" name="Text Placeholder 13">
            <a:extLst>
              <a:ext uri="{FF2B5EF4-FFF2-40B4-BE49-F238E27FC236}">
                <a16:creationId xmlns:a16="http://schemas.microsoft.com/office/drawing/2014/main" id="{40C4659B-F4B0-4E91-B37A-FC12470657C2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435475" y="548163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99B97FE-F004-4ACE-8200-6297BB4C688E}" type="datetime'''''''''''''''''''3''''''''''''%'''''''''''''''''">
              <a:rPr lang="en-US" altLang="en-US" sz="1400" smtClean="0">
                <a:cs typeface="+mn-cs"/>
              </a:rPr>
              <a:pPr/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77" name="Text Placeholder 13">
            <a:extLst>
              <a:ext uri="{FF2B5EF4-FFF2-40B4-BE49-F238E27FC236}">
                <a16:creationId xmlns:a16="http://schemas.microsoft.com/office/drawing/2014/main" id="{5A853DD0-7B4A-48FD-B52F-7F393A2967B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754438" y="3700463"/>
            <a:ext cx="3079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AAA86F2-1D86-470C-81E5-904389CA78B0}" type="datetime'''''''''''''''''''''''''''''''''''''''''''4''''%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0B6742A2-3E0A-43F9-9170-7C4FA2E2354C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146300" y="3716338"/>
            <a:ext cx="14351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CF4F7AF-5B26-40A3-94B6-DE1A7EB7A485}" type="datetime'''A''ss''''is''''ta''n''''''c''e'''' techni''''''q''''u''''e'">
              <a:rPr lang="en-US" altLang="en-US" sz="1200" smtClean="0">
                <a:cs typeface="+mn-cs"/>
              </a:rPr>
              <a:pPr/>
              <a:t>Assistance technique</a:t>
            </a:fld>
            <a:endParaRPr lang="en-US" sz="1200" dirty="0">
              <a:cs typeface="+mn-cs"/>
            </a:endParaRP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3BB72CA7-A8AF-425D-827D-E1011D5F091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130425" y="4092575"/>
            <a:ext cx="1450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045B4ACF-D177-4E37-B503-2C42F5C7974C}" type="datetime'''E''q''ui''''''''pem''en''t''s'' ''''''m''édi''ca''l'">
              <a:rPr lang="fr-FR" altLang="en-US" sz="1200" smtClean="0">
                <a:cs typeface="+mn-cs"/>
              </a:rPr>
              <a:pPr/>
              <a:t>Equipements médical</a:t>
            </a:fld>
            <a:endParaRPr lang="en-US" sz="1200" dirty="0">
              <a:cs typeface="+mn-cs"/>
            </a:endParaRPr>
          </a:p>
        </p:txBody>
      </p:sp>
      <p:sp>
        <p:nvSpPr>
          <p:cNvPr id="125" name="Text Placeholder 13">
            <a:extLst>
              <a:ext uri="{FF2B5EF4-FFF2-40B4-BE49-F238E27FC236}">
                <a16:creationId xmlns:a16="http://schemas.microsoft.com/office/drawing/2014/main" id="{051D9A2E-4637-4AF4-90DE-28CA3455EFC1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481513" y="4454525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A57B3B-57DC-4F87-BC26-15C0A08DB636}" type="datetime'''''''2''''''''%''''''''''''''''''''''''''''''''''''''''''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cs typeface="+mn-cs"/>
            </a:endParaRPr>
          </a:p>
        </p:txBody>
      </p:sp>
      <p:sp>
        <p:nvSpPr>
          <p:cNvPr id="148" name="Text Placeholder 13">
            <a:extLst>
              <a:ext uri="{FF2B5EF4-FFF2-40B4-BE49-F238E27FC236}">
                <a16:creationId xmlns:a16="http://schemas.microsoft.com/office/drawing/2014/main" id="{5395A714-DC42-4968-BFCF-0ED980C22A68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4203700" y="66611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48546B-EC8B-472D-880D-B1727629B89E}" type="datetime'''''1''''''8''''''''''''%'''''''''">
              <a:rPr lang="en-US" altLang="en-US" sz="1400" smtClean="0">
                <a:cs typeface="+mn-cs"/>
              </a:rPr>
              <a:pPr/>
              <a:t>18%</a:t>
            </a:fld>
            <a:endParaRPr lang="en-US" sz="1400" dirty="0">
              <a:cs typeface="+mn-cs"/>
            </a:endParaRPr>
          </a:p>
        </p:txBody>
      </p:sp>
      <p:sp>
        <p:nvSpPr>
          <p:cNvPr id="70" name="Text Placeholder 13">
            <a:extLst>
              <a:ext uri="{FF2B5EF4-FFF2-40B4-BE49-F238E27FC236}">
                <a16:creationId xmlns:a16="http://schemas.microsoft.com/office/drawing/2014/main" id="{99334CB8-B0C1-4170-B3CB-52E07BB793E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738563" y="4454525"/>
            <a:ext cx="307975" cy="2127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C0F484-0147-4DF6-8F96-6144D73910E4}" type="datetime'''''''''''''6''''''''''''''''''''''%''''''''''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96" name="Text Placeholder 13">
            <a:extLst>
              <a:ext uri="{FF2B5EF4-FFF2-40B4-BE49-F238E27FC236}">
                <a16:creationId xmlns:a16="http://schemas.microsoft.com/office/drawing/2014/main" id="{2BA774A0-DDC3-4918-B727-029DC1C60B2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5000625" y="397192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21648B8-9E38-4218-8FAA-AE2CBDEBCA08}" type="datetime'''''''''''''''''''''4''''3%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43%</a:t>
            </a:fld>
            <a:endParaRPr lang="en-US" sz="1400" dirty="0">
              <a:cs typeface="+mn-cs"/>
            </a:endParaRP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42E5EAF4-20D4-45F0-9B05-BDEF3053354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11150" y="4470400"/>
            <a:ext cx="3270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15677EF-7EC4-4E9A-BF35-AD1012B5221A}" type="datetime'Co''nfé''rences, ''congr''ès, sém''inaires, et format''i''ons'">
              <a:rPr lang="fr-FR" altLang="en-US" sz="1200" smtClean="0">
                <a:cs typeface="+mn-cs"/>
              </a:rPr>
              <a:pPr/>
              <a:t>Conférences, congrès, séminaires, et formations</a:t>
            </a:fld>
            <a:endParaRPr lang="en-US" sz="1200" dirty="0">
              <a:cs typeface="+mn-cs"/>
            </a:endParaRP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A8B88E66-EB31-4DD1-8DC3-FE78AB37D03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576263" y="4848225"/>
            <a:ext cx="3005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62837C9-EB88-45C1-A3BE-A14EA874F736}" type="datetime'Rec''herche, su''ivi e''t ''év''aluation'' et su''''pervision'">
              <a:rPr lang="fr-FR" altLang="en-US" sz="1200" smtClean="0">
                <a:cs typeface="+mn-cs"/>
              </a:rPr>
              <a:pPr/>
              <a:t>Recherche, suivi et évaluation et supervision</a:t>
            </a:fld>
            <a:endParaRPr lang="en-US" sz="1200" dirty="0">
              <a:cs typeface="+mn-cs"/>
            </a:endParaRP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32708EEA-3E98-41DC-A536-0FFEFC1123D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1733550" y="5226050"/>
            <a:ext cx="18478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625F8E5-8DA2-4146-A1D5-6CD2BA9C0D3F}" type="datetime'''''''''E''quipeme''''nts ''-'' n''''o''''n-mé''''dica''l'">
              <a:rPr lang="en-US" altLang="en-US" sz="1200" smtClean="0">
                <a:cs typeface="+mn-cs"/>
              </a:rPr>
              <a:pPr/>
              <a:t>Equipements - non-médical</a:t>
            </a:fld>
            <a:endParaRPr lang="en-US" sz="1200" dirty="0">
              <a:cs typeface="+mn-cs"/>
            </a:endParaRPr>
          </a:p>
        </p:txBody>
      </p:sp>
      <p:sp>
        <p:nvSpPr>
          <p:cNvPr id="114" name="Text Placeholder 13">
            <a:extLst>
              <a:ext uri="{FF2B5EF4-FFF2-40B4-BE49-F238E27FC236}">
                <a16:creationId xmlns:a16="http://schemas.microsoft.com/office/drawing/2014/main" id="{369FD9AD-2106-4FBD-BB41-F8B6EEAF9D5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5407025" y="4067176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B5E239D-50F4-46CD-BDC6-740A49ECDCE4}" type="datetime'''''''''''''''''''''1''''''''''''''''''''''''7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7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7" name="Text Placeholder 13">
            <a:extLst>
              <a:ext uri="{FF2B5EF4-FFF2-40B4-BE49-F238E27FC236}">
                <a16:creationId xmlns:a16="http://schemas.microsoft.com/office/drawing/2014/main" id="{6AC11D3F-5FFC-49D9-838F-7393CCD15AD8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6069013" y="5200651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BC1675-7B60-42C7-9E78-51B551B72EFA}" type="datetime'''''1''''''''''''0''''''''''''''''''''''''''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0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EFF1476F-682E-460A-837B-8655132CFB4C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901825" y="5603875"/>
            <a:ext cx="16795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4053ABB-3849-4CB7-BDC7-C6429872E18D}" type="datetime'C''''ommun''''''ica''''tio''n ''et'''' Mé''''''d''''''''ia'">
              <a:rPr lang="en-US" altLang="en-US" sz="1200" smtClean="0">
                <a:cs typeface="+mn-cs"/>
              </a:rPr>
              <a:pPr/>
              <a:t>Communication et Média</a:t>
            </a:fld>
            <a:endParaRPr lang="en-US" sz="1200" dirty="0">
              <a:cs typeface="+mn-cs"/>
            </a:endParaRP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A5CD10B0-16B0-4CDD-A2EF-4A52835338C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38100" y="5981700"/>
            <a:ext cx="35433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B133EACD-AAC9-40F1-8ECE-5AC4995CA96A}" type="datetime'Approvis''ionnement et gestio''n de la'' c''haine logistique'">
              <a:rPr lang="fr-FR" altLang="en-US" sz="1200" smtClean="0">
                <a:cs typeface="+mn-cs"/>
              </a:rPr>
              <a:pPr/>
              <a:t>Approvisionnement et gestion de la chaine logistique</a:t>
            </a:fld>
            <a:endParaRPr lang="en-US" sz="1200" dirty="0">
              <a:cs typeface="+mn-cs"/>
            </a:endParaRPr>
          </a:p>
        </p:txBody>
      </p:sp>
      <p:sp>
        <p:nvSpPr>
          <p:cNvPr id="104" name="Text Placeholder 13">
            <a:extLst>
              <a:ext uri="{FF2B5EF4-FFF2-40B4-BE49-F238E27FC236}">
                <a16:creationId xmlns:a16="http://schemas.microsoft.com/office/drawing/2014/main" id="{602F6744-D250-4713-867F-9FDF388DAD57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895725" y="6661150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t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A95B62-8CAD-4883-89DA-036A544EED82}" type="datetime'''''''9''%'''''''''''''''''''''''''''''''''''''''">
              <a:rPr lang="en-US" altLang="en-US" sz="1400" smtClean="0">
                <a:cs typeface="+mn-cs"/>
              </a:rPr>
              <a:pPr/>
              <a:t>9%</a:t>
            </a:fld>
            <a:endParaRPr lang="en-US" sz="1400" dirty="0">
              <a:cs typeface="+mn-cs"/>
            </a:endParaRP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E1BA7D46-EC74-4F86-9FF7-70B1675E437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514475" y="6359525"/>
            <a:ext cx="20669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6B8644C-E038-4B38-9713-09D824DE02FF}" type="datetime'M''''a''i''n''tenanc''e'' d''''es é''''''quipemen''''''ts'''''">
              <a:rPr lang="en-US" altLang="en-US" sz="1200" smtClean="0">
                <a:cs typeface="+mn-cs"/>
              </a:rPr>
              <a:pPr/>
              <a:t>Maintenance des équipements</a:t>
            </a:fld>
            <a:endParaRPr lang="en-US" sz="1200" dirty="0">
              <a:cs typeface="+mn-cs"/>
            </a:endParaRPr>
          </a:p>
        </p:txBody>
      </p:sp>
      <p:sp>
        <p:nvSpPr>
          <p:cNvPr id="163" name="Text Placeholder 13">
            <a:extLst>
              <a:ext uri="{FF2B5EF4-FFF2-40B4-BE49-F238E27FC236}">
                <a16:creationId xmlns:a16="http://schemas.microsoft.com/office/drawing/2014/main" id="{C7A62E4A-9BBB-4E2D-80DB-7E93F522EEB7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1733213" y="1757363"/>
            <a:ext cx="212725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4324E1-C702-462A-9E45-3ACD6FB55862}" type="datetime'1''''''''''''''1''''8''''''''''''''''''''''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1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0" name="Text Placeholder 13">
            <a:extLst>
              <a:ext uri="{FF2B5EF4-FFF2-40B4-BE49-F238E27FC236}">
                <a16:creationId xmlns:a16="http://schemas.microsoft.com/office/drawing/2014/main" id="{B7F79372-0F7B-43C3-BF05-671C452A7D43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7094538" y="2557464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1FCB18-F2C8-452C-9B1A-DADA7C03C748}" type="datetime'''''''''''''''''''''''''4''''''''''''''''''''''''8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4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2" name="Text Placeholder 13">
            <a:extLst>
              <a:ext uri="{FF2B5EF4-FFF2-40B4-BE49-F238E27FC236}">
                <a16:creationId xmlns:a16="http://schemas.microsoft.com/office/drawing/2014/main" id="{51C418DA-C3C3-4CB0-8104-5A3B4EE0BFF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6162675" y="3313114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0D5A373-96D2-42AA-8B45-480DB3664E36}" type="datetime'''''''''''3''''''''''''''''''''''''''2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32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3" name="Text Placeholder 13">
            <a:extLst>
              <a:ext uri="{FF2B5EF4-FFF2-40B4-BE49-F238E27FC236}">
                <a16:creationId xmlns:a16="http://schemas.microsoft.com/office/drawing/2014/main" id="{69897744-15C5-47C5-8086-19F033BC91A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5835650" y="3690939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A9E53F-18AE-4E4D-A76A-18396F05B3AD}" type="datetime'''''''''''''''''''''''''''2''''''''''''9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29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6" name="Text Placeholder 13">
            <a:extLst>
              <a:ext uri="{FF2B5EF4-FFF2-40B4-BE49-F238E27FC236}">
                <a16:creationId xmlns:a16="http://schemas.microsoft.com/office/drawing/2014/main" id="{26CC6C14-D1DA-4637-AFE7-97EB9A016DAC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613275" y="4822826"/>
            <a:ext cx="212725" cy="23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B2EC30-0F5F-4161-8011-CDB90B001C90}" type="datetime'''''''''''''''''''1''''''''1''''''''''''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11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8" name="Text Placeholder 13">
            <a:extLst>
              <a:ext uri="{FF2B5EF4-FFF2-40B4-BE49-F238E27FC236}">
                <a16:creationId xmlns:a16="http://schemas.microsoft.com/office/drawing/2014/main" id="{ABB45195-4870-486A-A073-20221E31427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4743450" y="5624513"/>
            <a:ext cx="212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8B1786-516D-4F6F-BE91-8D7F8A82613E}" type="datetime'''''''''''''''''''''''''''''''''''''''''''''''8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8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19" name="Text Placeholder 13">
            <a:extLst>
              <a:ext uri="{FF2B5EF4-FFF2-40B4-BE49-F238E27FC236}">
                <a16:creationId xmlns:a16="http://schemas.microsoft.com/office/drawing/2014/main" id="{11B27EC4-F6B9-4316-A981-F92F01CBF511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4302125" y="6002338"/>
            <a:ext cx="212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37E8844-D424-4E51-BA64-DA137989E5A0}" type="datetime'''''''''''''''''''''5'''''''''''''''''''">
              <a:rPr lang="en-US" altLang="en-US" sz="1400" b="1" smtClean="0">
                <a:solidFill>
                  <a:schemeClr val="tx2"/>
                </a:solidFill>
                <a:effectLst/>
                <a:latin typeface="+mn-lt"/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120" name="Text Placeholder 13">
            <a:extLst>
              <a:ext uri="{FF2B5EF4-FFF2-40B4-BE49-F238E27FC236}">
                <a16:creationId xmlns:a16="http://schemas.microsoft.com/office/drawing/2014/main" id="{145285AB-8C1D-4387-8BA4-68C1FCC11455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4127500" y="6380163"/>
            <a:ext cx="212725" cy="141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eaVert" wrap="none" lIns="0" tIns="25400" rIns="0" bIns="2540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C7412B-1B52-4892-96D2-5389D25AA932}" type="datetime'''''''2'''''''''''''''''''''''''''''''''''''''''''''''''''">
              <a:rPr lang="en-US" altLang="en-US" sz="1400" b="1" smtClean="0">
                <a:solidFill>
                  <a:schemeClr val="tx2"/>
                </a:solidFill>
                <a:latin typeface="+mn-lt"/>
                <a:cs typeface="+mn-cs"/>
              </a:rPr>
              <a:pPr/>
              <a:t>2</a:t>
            </a:fld>
            <a:endParaRPr lang="en-US" sz="1400" b="1" dirty="0">
              <a:solidFill>
                <a:schemeClr val="tx2"/>
              </a:solidFill>
              <a:latin typeface="+mn-lt"/>
              <a:cs typeface="+mn-cs"/>
            </a:endParaRPr>
          </a:p>
        </p:txBody>
      </p:sp>
      <p:sp>
        <p:nvSpPr>
          <p:cNvPr id="83" name="Text Placeholder 13">
            <a:extLst>
              <a:ext uri="{FF2B5EF4-FFF2-40B4-BE49-F238E27FC236}">
                <a16:creationId xmlns:a16="http://schemas.microsoft.com/office/drawing/2014/main" id="{58776D21-717F-44DC-BF4F-DE3F44095C51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10960100" y="181133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C46AC9C-CB06-44CF-B5A2-CF4CB78CA727}" type="datetime'''''9''''''''''''%'''''''''''">
              <a:rPr lang="en-US" altLang="en-US" sz="1400" smtClean="0">
                <a:cs typeface="+mn-cs"/>
              </a:rPr>
              <a:pPr/>
              <a:t>9%</a:t>
            </a:fld>
            <a:endParaRPr lang="en-US" sz="1400" dirty="0">
              <a:cs typeface="+mn-cs"/>
            </a:endParaRPr>
          </a:p>
        </p:txBody>
      </p:sp>
      <p:sp>
        <p:nvSpPr>
          <p:cNvPr id="84" name="Text Placeholder 13">
            <a:extLst>
              <a:ext uri="{FF2B5EF4-FFF2-40B4-BE49-F238E27FC236}">
                <a16:creationId xmlns:a16="http://schemas.microsoft.com/office/drawing/2014/main" id="{AD5DE1D2-0E29-47D7-B722-A29E81271BC3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gray">
          <a:xfrm>
            <a:off x="11406188" y="1811338"/>
            <a:ext cx="307975" cy="2127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EBB2E5C-A9FC-4AE1-ABD1-C56E65DC6E06}" type="datetime'2''''''''''''''''''''''''''%'''''''''''">
              <a:rPr lang="en-US" altLang="en-US" sz="1400" smtClean="0">
                <a:solidFill>
                  <a:schemeClr val="bg1"/>
                </a:solidFill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86" name="Text Placeholder 13">
            <a:extLst>
              <a:ext uri="{FF2B5EF4-FFF2-40B4-BE49-F238E27FC236}">
                <a16:creationId xmlns:a16="http://schemas.microsoft.com/office/drawing/2014/main" id="{366A1459-4AAD-4422-A406-E808DCDC840A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8402638" y="21891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D90632-1EB5-4046-A753-E58D1957DD81}" type="datetime'''2''''''''''''''''''''''''''''''''''''1''''''''%'''">
              <a:rPr lang="en-US" altLang="en-US" sz="1400" smtClean="0">
                <a:cs typeface="+mn-cs"/>
              </a:rPr>
              <a:pPr/>
              <a:t>21%</a:t>
            </a:fld>
            <a:endParaRPr lang="en-US" sz="1400" dirty="0">
              <a:cs typeface="+mn-cs"/>
            </a:endParaRP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412298D2-BC71-4F27-8ED7-58826E0D24D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641600" y="2960688"/>
            <a:ext cx="9398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433219F-4624-4DB6-B998-1C81160F3AEF}" type="datetime'''''''''''''''Inf''''r''''as''t''''''''r''''u''c''ture'' '''">
              <a:rPr lang="fr-FR" altLang="en-US" sz="1200" smtClean="0">
                <a:cs typeface="+mn-cs"/>
              </a:rPr>
              <a:pPr/>
              <a:t>Infrastructure </a:t>
            </a:fld>
            <a:endParaRPr lang="en-US" sz="1200" dirty="0">
              <a:cs typeface="+mn-cs"/>
            </a:endParaRPr>
          </a:p>
        </p:txBody>
      </p:sp>
      <p:sp>
        <p:nvSpPr>
          <p:cNvPr id="99" name="Text Placeholder 13">
            <a:extLst>
              <a:ext uri="{FF2B5EF4-FFF2-40B4-BE49-F238E27FC236}">
                <a16:creationId xmlns:a16="http://schemas.microsoft.com/office/drawing/2014/main" id="{91B7F40E-65EA-4719-8036-76BD6941BA6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6545263" y="25669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906608-2BEB-4BDA-AE1B-51AE95D329B5}" type="datetime'''''''''''2''0''''''''''''''''''''''%''''''''''''''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20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05" name="Text Placeholder 13">
            <a:extLst>
              <a:ext uri="{FF2B5EF4-FFF2-40B4-BE49-F238E27FC236}">
                <a16:creationId xmlns:a16="http://schemas.microsoft.com/office/drawing/2014/main" id="{7CFE5296-5E68-45F0-94FB-D0BE82F70075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5508625" y="29448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71FDDE-F8E5-4031-9FB7-1ADCA96C32EF}" type="datetime'''''4''''''''''''''''''''''''''''''''''''''0''%'''">
              <a:rPr lang="en-US" altLang="en-US" sz="1400" smtClean="0">
                <a:cs typeface="+mn-cs"/>
              </a:rPr>
              <a:pPr/>
              <a:t>40%</a:t>
            </a:fld>
            <a:endParaRPr lang="en-US" sz="1400" dirty="0">
              <a:cs typeface="+mn-cs"/>
            </a:endParaRPr>
          </a:p>
        </p:txBody>
      </p:sp>
      <p:sp>
        <p:nvSpPr>
          <p:cNvPr id="108" name="Text Placeholder 13">
            <a:extLst>
              <a:ext uri="{FF2B5EF4-FFF2-40B4-BE49-F238E27FC236}">
                <a16:creationId xmlns:a16="http://schemas.microsoft.com/office/drawing/2014/main" id="{95F3E858-404F-4CE9-8B19-CC9BC0FEBA8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5835650" y="3322638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EA2BA1E-4B7A-42C0-93E1-80DBA21F47FF}" type="datetime'''''''1''''''''''''''''''''''''''''%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n-US" sz="1400" dirty="0">
              <a:cs typeface="+mn-cs"/>
            </a:endParaRPr>
          </a:p>
        </p:txBody>
      </p:sp>
      <p:sp>
        <p:nvSpPr>
          <p:cNvPr id="123" name="Text Placeholder 13">
            <a:extLst>
              <a:ext uri="{FF2B5EF4-FFF2-40B4-BE49-F238E27FC236}">
                <a16:creationId xmlns:a16="http://schemas.microsoft.com/office/drawing/2014/main" id="{0FB31989-A16A-4358-BC3B-5FAD801DA225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4521200" y="407670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D2101D-D8AB-4193-ADF8-42AE58E15331}" type="datetime'''''''''4''''''''''5''''''''''''''''''''''''''''''%'''''''''">
              <a:rPr lang="en-US" altLang="en-US" sz="1400" smtClean="0">
                <a:cs typeface="+mn-cs"/>
              </a:rPr>
              <a:pPr/>
              <a:t>45%</a:t>
            </a:fld>
            <a:endParaRPr lang="en-US" sz="1400" dirty="0">
              <a:cs typeface="+mn-cs"/>
            </a:endParaRPr>
          </a:p>
        </p:txBody>
      </p:sp>
      <p:sp>
        <p:nvSpPr>
          <p:cNvPr id="129" name="Text Placeholder 13">
            <a:extLst>
              <a:ext uri="{FF2B5EF4-FFF2-40B4-BE49-F238E27FC236}">
                <a16:creationId xmlns:a16="http://schemas.microsoft.com/office/drawing/2014/main" id="{3E17535F-D552-4BD1-8F1B-AA4299E88FAC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3976688" y="4832350"/>
            <a:ext cx="504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BB93FB3-1906-4160-A5DF-7241D7258806}" type="datetime'''''''1''''''''''''''''''''0''0''''''''''''%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400" dirty="0">
              <a:cs typeface="+mn-cs"/>
            </a:endParaRPr>
          </a:p>
        </p:txBody>
      </p:sp>
      <p:sp>
        <p:nvSpPr>
          <p:cNvPr id="135" name="Text Placeholder 13">
            <a:extLst>
              <a:ext uri="{FF2B5EF4-FFF2-40B4-BE49-F238E27FC236}">
                <a16:creationId xmlns:a16="http://schemas.microsoft.com/office/drawing/2014/main" id="{F01BB5AE-F053-47D3-8D03-8EF5050019CA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4995863" y="50958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90D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5E66085-5C23-4E8B-B03D-E32D7A860E3B}" type="datetime'''''''''''''''''''''''''''''''44%'''''">
              <a:rPr lang="en-US" altLang="en-US" sz="1400" smtClean="0">
                <a:cs typeface="+mn-cs"/>
              </a:rPr>
              <a:pPr/>
              <a:t>44%</a:t>
            </a:fld>
            <a:endParaRPr lang="en-US" sz="1400" dirty="0">
              <a:cs typeface="+mn-cs"/>
            </a:endParaRPr>
          </a:p>
        </p:txBody>
      </p:sp>
      <p:sp>
        <p:nvSpPr>
          <p:cNvPr id="136" name="Text Placeholder 13">
            <a:extLst>
              <a:ext uri="{FF2B5EF4-FFF2-40B4-BE49-F238E27FC236}">
                <a16:creationId xmlns:a16="http://schemas.microsoft.com/office/drawing/2014/main" id="{D4EC6E13-CC95-4B24-8503-D1BDE502C9D3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5427663" y="509587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670A76-4253-4BE7-BC5C-13A6C79EED0D}" type="datetime'''''''''''''''''''''2''''''''%''''''''''''''''''''''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%</a:t>
            </a:fld>
            <a:endParaRPr lang="en-US" sz="1400" dirty="0">
              <a:cs typeface="+mn-cs"/>
            </a:endParaRPr>
          </a:p>
        </p:txBody>
      </p:sp>
      <p:sp>
        <p:nvSpPr>
          <p:cNvPr id="137" name="Text Placeholder 13">
            <a:extLst>
              <a:ext uri="{FF2B5EF4-FFF2-40B4-BE49-F238E27FC236}">
                <a16:creationId xmlns:a16="http://schemas.microsoft.com/office/drawing/2014/main" id="{749A4A3A-C348-4563-87F8-22E07EF9B2BA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761038" y="5095875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F5F589F-4E2F-4A00-A1FC-2D5D627E322F}" type="datetime'''''''''''3''''''''''''''''''''''''''''%'''">
              <a:rPr lang="en-US" altLang="en-US" sz="1400" smtClean="0"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%</a:t>
            </a:fld>
            <a:endParaRPr lang="en-US" sz="1400" dirty="0">
              <a:cs typeface="+mn-cs"/>
            </a:endParaRPr>
          </a:p>
        </p:txBody>
      </p:sp>
      <p:sp>
        <p:nvSpPr>
          <p:cNvPr id="98" name="Text Placeholder 13">
            <a:extLst>
              <a:ext uri="{FF2B5EF4-FFF2-40B4-BE49-F238E27FC236}">
                <a16:creationId xmlns:a16="http://schemas.microsoft.com/office/drawing/2014/main" id="{8E5ABADB-895B-410B-98F6-8E87F3A3C1C1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6186488" y="2566988"/>
            <a:ext cx="307975" cy="212725"/>
          </a:xfrm>
          <a:prstGeom prst="rect">
            <a:avLst/>
          </a:prstGeom>
          <a:solidFill>
            <a:srgbClr val="96969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53A68D-D259-48A3-B521-F5F473E5A803}" type="datetime'''''''''''''''''''''6''''''%''''''''''''''''''''''''''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%</a:t>
            </a:fld>
            <a:endParaRPr lang="en-US" sz="1400" dirty="0">
              <a:cs typeface="+mn-cs"/>
            </a:endParaRPr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3B79E9EA-D2A5-4FE0-A1EB-C0C590201004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8975725" y="18113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11973D3-7F95-42AE-9B71-E5F41CF55CE7}" type="datetime'''''4''''''''''''0''''''''''''''''%'''''''''''''''''''">
              <a:rPr lang="en-US" altLang="en-US" sz="1400" smtClean="0">
                <a:cs typeface="+mn-cs"/>
              </a:rPr>
              <a:pPr/>
              <a:t>40%</a:t>
            </a:fld>
            <a:endParaRPr lang="en-US" sz="1400" dirty="0">
              <a:cs typeface="+mn-cs"/>
            </a:endParaRPr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B054A3DA-4C4B-46E4-868C-206FB11B6E9F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2449513" y="2582863"/>
            <a:ext cx="1131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AF2995-C2F9-4A7E-9EFF-5CF7D11073C7}" type="datetime'Fo''''nc''ti''''''''on''''n''''e''''''m''e''''nt'' '''''''">
              <a:rPr lang="en-US" altLang="en-US" sz="1200" smtClean="0">
                <a:cs typeface="+mn-cs"/>
              </a:rPr>
              <a:pPr/>
              <a:t>Fonctionnement </a:t>
            </a:fld>
            <a:endParaRPr lang="en-US" sz="1200" dirty="0">
              <a:cs typeface="+mn-cs"/>
            </a:endParaRPr>
          </a:p>
        </p:txBody>
      </p:sp>
      <p:sp>
        <p:nvSpPr>
          <p:cNvPr id="85" name="Text Placeholder 13">
            <a:extLst>
              <a:ext uri="{FF2B5EF4-FFF2-40B4-BE49-F238E27FC236}">
                <a16:creationId xmlns:a16="http://schemas.microsoft.com/office/drawing/2014/main" id="{DE05C079-17A8-4150-8B1F-CD23937BC6D5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405313" y="18113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73BE57-FF1A-4A9D-B296-F331427F8254}" type="datetime'''''''''''''1''''''''''''''''''''''''''''9%'">
              <a:rPr lang="en-US" altLang="en-US" sz="1400" smtClean="0">
                <a:solidFill>
                  <a:schemeClr val="bg1"/>
                </a:solidFill>
                <a:cs typeface="+mn-cs"/>
              </a:rPr>
              <a:pPr/>
              <a:t>1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3AB26DBD-3696-48F6-889B-E30369BC05ED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869950" y="3338513"/>
            <a:ext cx="27114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F841106-02B1-4CB8-8BE5-49042646F47B}" type="datetime'G''e''''st''io''''n du programme et'' a''dminis''''tr''ation'">
              <a:rPr lang="fr-FR" altLang="en-US" sz="1200" smtClean="0">
                <a:cs typeface="+mn-cs"/>
              </a:rPr>
              <a:pPr/>
              <a:t>Gestion du programme et administration</a:t>
            </a:fld>
            <a:endParaRPr lang="en-US" sz="1200" dirty="0">
              <a:cs typeface="+mn-cs"/>
            </a:endParaRPr>
          </a:p>
        </p:txBody>
      </p:sp>
      <p:sp>
        <p:nvSpPr>
          <p:cNvPr id="106" name="Text Placeholder 13">
            <a:extLst>
              <a:ext uri="{FF2B5EF4-FFF2-40B4-BE49-F238E27FC236}">
                <a16:creationId xmlns:a16="http://schemas.microsoft.com/office/drawing/2014/main" id="{A57FB99B-07BE-41B2-A6E0-1AE8E3B0C9C7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3863975" y="256698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A9913F-F9E6-49F5-BB82-29809F3F8F6F}" type="datetime'''''''''''''''''''''''''9''''''%'''''''''''''''''''''''''''">
              <a:rPr lang="en-US" altLang="en-US" sz="1400" smtClean="0">
                <a:solidFill>
                  <a:schemeClr val="bg1"/>
                </a:solidFill>
                <a:effectLst/>
                <a:cs typeface="+mn-cs"/>
              </a:rPr>
              <a:pPr/>
              <a:t>9%</a:t>
            </a:fld>
            <a:endParaRPr lang="en-US" sz="14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89" name="Text Placeholder 13">
            <a:extLst>
              <a:ext uri="{FF2B5EF4-FFF2-40B4-BE49-F238E27FC236}">
                <a16:creationId xmlns:a16="http://schemas.microsoft.com/office/drawing/2014/main" id="{C9F01624-ACFB-4962-9D72-1F38FC946845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6275388" y="181133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9380469-3D8E-41EC-8E0F-B409DC0E578B}" type="datetime'''''''2''''''''9''''''''''''''''''''''''%'''''''''''''''''''''">
              <a:rPr lang="en-US" altLang="en-US" sz="1400" smtClean="0">
                <a:cs typeface="+mn-cs"/>
              </a:rPr>
              <a:pPr/>
              <a:t>29%</a:t>
            </a:fld>
            <a:endParaRPr lang="en-US" sz="1400" dirty="0">
              <a:cs typeface="+mn-cs"/>
            </a:endParaRP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34786A91-A2A3-4AAF-87A9-6942C5323D6D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719138" y="1827213"/>
            <a:ext cx="2862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687BBF-F9AC-47B9-BF85-816663DCF24F}" type="datetime'''''Méd''''icamen''''ts et con''somm''ab''le''s méd''icales'''">
              <a:rPr lang="en-US" altLang="en-US" sz="1200" smtClean="0">
                <a:cs typeface="+mn-cs"/>
              </a:rPr>
              <a:pPr/>
              <a:t>Médicaments et consommables médicales</a:t>
            </a:fld>
            <a:endParaRPr lang="en-US" sz="1200" dirty="0">
              <a:cs typeface="+mn-cs"/>
            </a:endParaRPr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04420E21-C68F-4A58-A3D0-1FAA4C6ED34C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7288213" y="218916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3294A6-3A0E-42FF-A4C4-0367EC21A39D}" type="datetime'''''''''2''''''''''''''''2''''''%'''''''''''''''''''''''''">
              <a:rPr lang="en-US" altLang="en-US" sz="1400" smtClean="0">
                <a:cs typeface="+mn-cs"/>
              </a:rPr>
              <a:pPr/>
              <a:t>22%</a:t>
            </a:fld>
            <a:endParaRPr lang="en-US" sz="1400" dirty="0">
              <a:cs typeface="+mn-cs"/>
            </a:endParaRPr>
          </a:p>
        </p:txBody>
      </p:sp>
      <p:sp>
        <p:nvSpPr>
          <p:cNvPr id="143" name="Text Placeholder 13">
            <a:extLst>
              <a:ext uri="{FF2B5EF4-FFF2-40B4-BE49-F238E27FC236}">
                <a16:creationId xmlns:a16="http://schemas.microsoft.com/office/drawing/2014/main" id="{EADED561-3528-42A5-9434-073491FD4A94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3778250" y="5965825"/>
            <a:ext cx="504825" cy="2127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903C5A3-EDB0-4DB4-A37F-C657DD8986D2}" type="datetime'''''''''''''''''''''1''''''''00''''''''''''''''''''%'''">
              <a:rPr lang="en-US" altLang="en-US" sz="1400" smtClean="0">
                <a:cs typeface="+mn-cs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en-US" sz="1400" dirty="0"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D0D1090-63CA-4127-A705-F8ECE4CCFF74}"/>
              </a:ext>
            </a:extLst>
          </p:cNvPr>
          <p:cNvSpPr/>
          <p:nvPr>
            <p:custDataLst>
              <p:tags r:id="rId79"/>
            </p:custDataLst>
          </p:nvPr>
        </p:nvSpPr>
        <p:spPr bwMode="auto">
          <a:xfrm>
            <a:off x="10218738" y="3689350"/>
            <a:ext cx="250825" cy="187325"/>
          </a:xfrm>
          <a:prstGeom prst="rect">
            <a:avLst/>
          </a:prstGeom>
          <a:solidFill>
            <a:srgbClr val="FFC90D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6FB527B3-2F97-4D35-820A-98DED2366E0B}"/>
              </a:ext>
            </a:extLst>
          </p:cNvPr>
          <p:cNvSpPr/>
          <p:nvPr>
            <p:custDataLst>
              <p:tags r:id="rId80"/>
            </p:custDataLst>
          </p:nvPr>
        </p:nvSpPr>
        <p:spPr bwMode="auto">
          <a:xfrm>
            <a:off x="10218738" y="3162300"/>
            <a:ext cx="250825" cy="18732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61DA6B92-544F-498C-A28F-6D220FE5D0C6}"/>
              </a:ext>
            </a:extLst>
          </p:cNvPr>
          <p:cNvSpPr/>
          <p:nvPr>
            <p:custDataLst>
              <p:tags r:id="rId81"/>
            </p:custDataLst>
          </p:nvPr>
        </p:nvSpPr>
        <p:spPr bwMode="auto">
          <a:xfrm>
            <a:off x="10218738" y="3425825"/>
            <a:ext cx="250825" cy="18732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F915A530-3572-46D1-B898-758C61874D87}"/>
              </a:ext>
            </a:extLst>
          </p:cNvPr>
          <p:cNvSpPr/>
          <p:nvPr>
            <p:custDataLst>
              <p:tags r:id="rId82"/>
            </p:custDataLst>
          </p:nvPr>
        </p:nvSpPr>
        <p:spPr bwMode="auto">
          <a:xfrm>
            <a:off x="10218738" y="3952875"/>
            <a:ext cx="250825" cy="187325"/>
          </a:xfrm>
          <a:prstGeom prst="rect">
            <a:avLst/>
          </a:prstGeom>
          <a:solidFill>
            <a:srgbClr val="969696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F50456FE-825B-4319-B756-2A990CE88F5C}"/>
              </a:ext>
            </a:extLst>
          </p:cNvPr>
          <p:cNvSpPr/>
          <p:nvPr>
            <p:custDataLst>
              <p:tags r:id="rId83"/>
            </p:custDataLst>
          </p:nvPr>
        </p:nvSpPr>
        <p:spPr bwMode="auto">
          <a:xfrm>
            <a:off x="10218738" y="4216400"/>
            <a:ext cx="250825" cy="18732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Text Placeholder 13">
            <a:extLst>
              <a:ext uri="{FF2B5EF4-FFF2-40B4-BE49-F238E27FC236}">
                <a16:creationId xmlns:a16="http://schemas.microsoft.com/office/drawing/2014/main" id="{83E547F4-6528-4EFD-96DE-F39E6975FF1F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10520363" y="3684588"/>
            <a:ext cx="7286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EA2A7A-FA01-434A-B703-9FE57FD8D0AE}" type="datetime'M''''''''''''''''é''''n''''''a''g''''''''''''''''e''s'''''''">
              <a:rPr lang="en-US" altLang="en-US" sz="1400" smtClean="0">
                <a:cs typeface="+mn-cs"/>
              </a:rPr>
              <a:pPr/>
              <a:t>Ménages</a:t>
            </a:fld>
            <a:endParaRPr lang="en-US" sz="1400" dirty="0">
              <a:cs typeface="+mn-cs"/>
            </a:endParaRPr>
          </a:p>
        </p:txBody>
      </p:sp>
      <p:sp>
        <p:nvSpPr>
          <p:cNvPr id="38" name="Text Placeholder 13">
            <a:extLst>
              <a:ext uri="{FF2B5EF4-FFF2-40B4-BE49-F238E27FC236}">
                <a16:creationId xmlns:a16="http://schemas.microsoft.com/office/drawing/2014/main" id="{3DF99A03-0252-4B34-98F2-CE63E8D5561B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10520363" y="3157538"/>
            <a:ext cx="315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63C67F-39D5-41AC-BD6E-264427552EFC}" type="datetime'''''''E''''''''''''''''''''ta''''''''''''t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Etat</a:t>
            </a:fld>
            <a:endParaRPr lang="en-US" sz="1400" dirty="0">
              <a:cs typeface="+mn-cs"/>
            </a:endParaRPr>
          </a:p>
        </p:txBody>
      </p:sp>
      <p:sp>
        <p:nvSpPr>
          <p:cNvPr id="37" name="Text Placeholder 13">
            <a:extLst>
              <a:ext uri="{FF2B5EF4-FFF2-40B4-BE49-F238E27FC236}">
                <a16:creationId xmlns:a16="http://schemas.microsoft.com/office/drawing/2014/main" id="{DEFA7848-5FA9-4AAB-AEFF-F27EF69B7272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10520363" y="3421063"/>
            <a:ext cx="3349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26590DA-3409-4729-A7FC-B6806CFFE3EF}" type="datetime'''''P''''''TF'''''''''''''''''''''''''''">
              <a:rPr lang="en-US" altLang="en-US" sz="1400" smtClean="0">
                <a:effectLst/>
                <a:cs typeface="+mn-cs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PTF</a:t>
            </a:fld>
            <a:endParaRPr lang="en-US" sz="1400" dirty="0">
              <a:cs typeface="+mn-cs"/>
            </a:endParaRPr>
          </a:p>
        </p:txBody>
      </p:sp>
      <p:sp>
        <p:nvSpPr>
          <p:cNvPr id="81" name="Text Placeholder 13">
            <a:extLst>
              <a:ext uri="{FF2B5EF4-FFF2-40B4-BE49-F238E27FC236}">
                <a16:creationId xmlns:a16="http://schemas.microsoft.com/office/drawing/2014/main" id="{10201B37-94B8-45B7-8306-930D11207EEF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10520363" y="4211638"/>
            <a:ext cx="10652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3A61710-4366-405C-975A-0FDF915EEE4F}" type="datetime'''''''''''S''e''''c''''''t''''''''''eur ''''''''''Privé'''''">
              <a:rPr lang="en-US" altLang="en-US" sz="1400" smtClean="0">
                <a:cs typeface="+mn-cs"/>
              </a:rPr>
              <a:pPr/>
              <a:t>Secteur Privé</a:t>
            </a:fld>
            <a:endParaRPr lang="en-US" sz="1400" dirty="0">
              <a:cs typeface="+mn-cs"/>
            </a:endParaRPr>
          </a:p>
        </p:txBody>
      </p:sp>
      <p:sp>
        <p:nvSpPr>
          <p:cNvPr id="82" name="Text Placeholder 13">
            <a:extLst>
              <a:ext uri="{FF2B5EF4-FFF2-40B4-BE49-F238E27FC236}">
                <a16:creationId xmlns:a16="http://schemas.microsoft.com/office/drawing/2014/main" id="{0C7DC0DA-16AF-4438-BF3F-50609D5CCFD3}"/>
              </a:ext>
            </a:extLst>
          </p:cNvPr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10520363" y="3948113"/>
            <a:ext cx="2365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97533D5-5849-4AA2-99AB-02DD969E7FD7}" type="datetime'''''''C''''''''''''''T'''''''''''''''''''''''''''''''''''''">
              <a:rPr lang="en-US" altLang="en-US" sz="1400" smtClean="0">
                <a:cs typeface="+mn-cs"/>
              </a:rPr>
              <a:pPr/>
              <a:t>CT</a:t>
            </a:fld>
            <a:endParaRPr lang="en-US" sz="1400" dirty="0">
              <a:cs typeface="+mn-cs"/>
            </a:endParaRP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FE169D96-84C9-4805-9579-945FC4073AE8}"/>
              </a:ext>
            </a:extLst>
          </p:cNvPr>
          <p:cNvSpPr txBox="1">
            <a:spLocks noChangeAspect="1"/>
          </p:cNvSpPr>
          <p:nvPr/>
        </p:nvSpPr>
        <p:spPr>
          <a:xfrm>
            <a:off x="6716139" y="4889500"/>
            <a:ext cx="5191698" cy="1816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b="1" dirty="0"/>
              <a:t>29% des ressources </a:t>
            </a:r>
            <a:r>
              <a:rPr lang="fr-FR" sz="1800" dirty="0"/>
              <a:t>destinées aux </a:t>
            </a:r>
            <a:r>
              <a:rPr lang="fr-FR" sz="1800" b="1" dirty="0"/>
              <a:t>médicaments et consommables médicau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8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800" b="1" dirty="0"/>
              <a:t>46% des ressources </a:t>
            </a:r>
            <a:r>
              <a:rPr lang="fr-FR" sz="1800" dirty="0"/>
              <a:t>destinées aux </a:t>
            </a:r>
            <a:r>
              <a:rPr lang="fr-FR" dirty="0">
                <a:solidFill>
                  <a:schemeClr val="tx1"/>
                </a:solidFill>
              </a:rPr>
              <a:t>ressources humaines, fonctionnement, gestion du programme, et assistance technique</a:t>
            </a:r>
          </a:p>
        </p:txBody>
      </p:sp>
      <p:sp>
        <p:nvSpPr>
          <p:cNvPr id="78" name="Title 2">
            <a:extLst>
              <a:ext uri="{FF2B5EF4-FFF2-40B4-BE49-F238E27FC236}">
                <a16:creationId xmlns:a16="http://schemas.microsoft.com/office/drawing/2014/main" id="{D47A86D2-BD44-4C65-9081-66CA3B04D284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des ressources du DI SRMNIA-N par catégorie de coûts et par source de financement (2019-2022)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CA49DB11-6BC1-42BA-B95E-A240C4058556}"/>
              </a:ext>
            </a:extLst>
          </p:cNvPr>
          <p:cNvSpPr txBox="1"/>
          <p:nvPr/>
        </p:nvSpPr>
        <p:spPr>
          <a:xfrm>
            <a:off x="3242215" y="1001139"/>
            <a:ext cx="59837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par source de financement et par catégorie de coûts (Milliards CFA) (2019-2022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20225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DEF1C82-1E43-41E4-9A43-20C7CC5E9F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169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CB5B8CE8-3EAE-4D69-A770-2A9017CF56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6046" y="1613018"/>
            <a:ext cx="5856107" cy="41120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BADF271-D9F7-458C-B092-68525F31C956}"/>
              </a:ext>
            </a:extLst>
          </p:cNvPr>
          <p:cNvSpPr txBox="1"/>
          <p:nvPr/>
        </p:nvSpPr>
        <p:spPr>
          <a:xfrm>
            <a:off x="-290081" y="2881632"/>
            <a:ext cx="1380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dirty="0"/>
              <a:t>Dakar</a:t>
            </a:r>
            <a:br>
              <a:rPr lang="fr-FR" sz="1200" dirty="0"/>
            </a:br>
            <a:r>
              <a:rPr lang="fr-FR" sz="1200" b="1" dirty="0"/>
              <a:t>5,191,251,096</a:t>
            </a:r>
            <a:endParaRPr lang="en-US" sz="1200" b="1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23887F-6198-40E1-B33D-8E36537C4FC9}"/>
              </a:ext>
            </a:extLst>
          </p:cNvPr>
          <p:cNvSpPr txBox="1"/>
          <p:nvPr/>
        </p:nvSpPr>
        <p:spPr>
          <a:xfrm>
            <a:off x="5336035" y="2843480"/>
            <a:ext cx="1380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dirty="0"/>
              <a:t>Dakar</a:t>
            </a:r>
            <a:br>
              <a:rPr lang="fr-FR" sz="1200" dirty="0"/>
            </a:br>
            <a:r>
              <a:rPr lang="fr-FR" sz="1200" b="1" dirty="0"/>
              <a:t>48,290,980,733</a:t>
            </a:r>
            <a:endParaRPr lang="en-US" sz="1200" b="1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70E213-0C71-4C74-9655-402EEF3D8130}"/>
              </a:ext>
            </a:extLst>
          </p:cNvPr>
          <p:cNvSpPr txBox="1"/>
          <p:nvPr/>
        </p:nvSpPr>
        <p:spPr>
          <a:xfrm>
            <a:off x="361417" y="1132906"/>
            <a:ext cx="50474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des PTF par régions</a:t>
            </a:r>
            <a:b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2019-2022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655C7BF-D964-4FC4-A403-47A47AA6D0F6}"/>
              </a:ext>
            </a:extLst>
          </p:cNvPr>
          <p:cNvSpPr txBox="1"/>
          <p:nvPr/>
        </p:nvSpPr>
        <p:spPr>
          <a:xfrm>
            <a:off x="5921775" y="1028244"/>
            <a:ext cx="52638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épartition des ressources hors PTF par régions</a:t>
            </a:r>
            <a:b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fr-FR" sz="16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(2019-2022)</a:t>
            </a:r>
            <a:endParaRPr lang="en-US" sz="16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A726C293-C529-484A-A9E0-C41C4D9A59BC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épartition géographique des ressources du DI SRMNIA-N (2019-2022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5370C3E-1091-47D9-BDE1-212F354C7F0B}"/>
              </a:ext>
            </a:extLst>
          </p:cNvPr>
          <p:cNvSpPr txBox="1">
            <a:spLocks noChangeAspect="1"/>
          </p:cNvSpPr>
          <p:nvPr/>
        </p:nvSpPr>
        <p:spPr>
          <a:xfrm>
            <a:off x="1993617" y="5897213"/>
            <a:ext cx="8557783" cy="89677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 anchorCtr="0">
            <a:noAutofit/>
          </a:bodyPr>
          <a:lstStyle>
            <a:defPPr>
              <a:defRPr lang="en-US"/>
            </a:defPPr>
            <a:lvl1pPr marL="285750" indent="-285750">
              <a:buFont typeface="Arial" panose="020B0604020202020204" pitchFamily="34" charset="0"/>
              <a:buChar char="•"/>
              <a:defRPr b="1"/>
            </a:lvl1pPr>
          </a:lstStyle>
          <a:p>
            <a:r>
              <a:rPr lang="fr-FR" dirty="0"/>
              <a:t>Ressources des PTF </a:t>
            </a:r>
            <a:r>
              <a:rPr lang="fr-FR" b="0" dirty="0"/>
              <a:t>orientées vers les</a:t>
            </a:r>
            <a:r>
              <a:rPr lang="fr-FR" dirty="0"/>
              <a:t> régions du Sud et de l'Est du Sénégal.</a:t>
            </a:r>
          </a:p>
          <a:p>
            <a:r>
              <a:rPr lang="fr-FR" dirty="0"/>
              <a:t>Ressources hors PTF </a:t>
            </a:r>
            <a:r>
              <a:rPr lang="fr-FR" b="0" dirty="0"/>
              <a:t>orientées vers </a:t>
            </a:r>
            <a:r>
              <a:rPr lang="fr-FR" dirty="0"/>
              <a:t>les régions de l’Ouest et du Cent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177301-92D1-40F7-9FCF-B3C6030A78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9282" y="1613019"/>
            <a:ext cx="5856107" cy="4112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4556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de la présent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AC0131B-FE0C-44B6-BF0E-51179E86B25C}"/>
              </a:ext>
            </a:extLst>
          </p:cNvPr>
          <p:cNvSpPr txBox="1"/>
          <p:nvPr/>
        </p:nvSpPr>
        <p:spPr>
          <a:xfrm>
            <a:off x="850076" y="1133369"/>
            <a:ext cx="5141149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algn="just">
              <a:spcBef>
                <a:spcPts val="1200"/>
              </a:spcBef>
              <a:buAutoNum type="arabicParenR"/>
            </a:pPr>
            <a:r>
              <a:rPr lang="fr-FR" sz="2000" dirty="0"/>
              <a:t>Introduction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Objectifs de la cartographie des ressource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Méthodologi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Produits de la cartographie des ressources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émonstration de l’outil dynamique de la visualisation des données</a:t>
            </a:r>
          </a:p>
          <a:p>
            <a:pPr marL="514350" indent="-514350">
              <a:spcBef>
                <a:spcPts val="1200"/>
              </a:spcBef>
              <a:buAutoNum type="arabicParenR"/>
            </a:pPr>
            <a:r>
              <a:rPr lang="fr-FR" sz="2000" dirty="0"/>
              <a:t>Résultats de la cartographie des ressources du PNDSS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OS 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7EFFCB-270E-49AE-B3C6-4258B4FC3A13}"/>
              </a:ext>
            </a:extLst>
          </p:cNvPr>
          <p:cNvSpPr txBox="1"/>
          <p:nvPr/>
        </p:nvSpPr>
        <p:spPr>
          <a:xfrm>
            <a:off x="6805613" y="1252455"/>
            <a:ext cx="5139985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ésultats de la cartographie des ressources du DI SRMNIA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source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Analyses des gaps de financement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iorité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programme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Distribution des ressources par catégorie de coût </a:t>
            </a:r>
          </a:p>
          <a:p>
            <a:pPr marL="1028700" lvl="1" indent="-571500">
              <a:spcBef>
                <a:spcPts val="600"/>
              </a:spcBef>
              <a:buFont typeface="+mj-lt"/>
              <a:buAutoNum type="romanUcPeriod"/>
            </a:pPr>
            <a:r>
              <a:rPr lang="fr-FR" sz="1600" dirty="0"/>
              <a:t>Répartition des ressources par région </a:t>
            </a:r>
            <a:endParaRPr lang="fr-FR" sz="2000" dirty="0"/>
          </a:p>
          <a:p>
            <a:pPr marL="514350" indent="-514350" algn="just">
              <a:spcBef>
                <a:spcPts val="1200"/>
              </a:spcBef>
              <a:buFont typeface="+mj-lt"/>
              <a:buAutoNum type="arabicParenR" startAt="3"/>
            </a:pPr>
            <a:r>
              <a:rPr lang="fr-FR" sz="2000" dirty="0"/>
              <a:t>Recommandations </a:t>
            </a:r>
            <a:endParaRPr lang="fr-FR" sz="1600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21523D-6B93-48D3-9BF9-EC8E449E0DE5}"/>
              </a:ext>
            </a:extLst>
          </p:cNvPr>
          <p:cNvCxnSpPr>
            <a:cxnSpLocks/>
          </p:cNvCxnSpPr>
          <p:nvPr/>
        </p:nvCxnSpPr>
        <p:spPr>
          <a:xfrm>
            <a:off x="6178650" y="1133369"/>
            <a:ext cx="0" cy="52388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D48E38CB-F232-4052-AFF6-635DB1CB8968}"/>
              </a:ext>
            </a:extLst>
          </p:cNvPr>
          <p:cNvSpPr/>
          <p:nvPr/>
        </p:nvSpPr>
        <p:spPr>
          <a:xfrm>
            <a:off x="6262688" y="4216531"/>
            <a:ext cx="542925" cy="39068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560711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BE75E3B-98F2-4150-A2FA-B1506623EA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BE75E3B-98F2-4150-A2FA-B1506623E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2">
            <a:extLst>
              <a:ext uri="{FF2B5EF4-FFF2-40B4-BE49-F238E27FC236}">
                <a16:creationId xmlns:a16="http://schemas.microsoft.com/office/drawing/2014/main" id="{C34E7C3D-DD4B-449E-8F2E-18C6940DA9E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andations </a:t>
            </a:r>
            <a:r>
              <a:rPr lang="fr-FR" altLang="ko-KR" sz="2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ées au processus</a:t>
            </a:r>
            <a:endParaRPr lang="fr-FR" sz="28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F0C0842-1410-4B7C-B393-ED07D4BF61ED}"/>
              </a:ext>
            </a:extLst>
          </p:cNvPr>
          <p:cNvGrpSpPr/>
          <p:nvPr/>
        </p:nvGrpSpPr>
        <p:grpSpPr>
          <a:xfrm>
            <a:off x="905080" y="1316736"/>
            <a:ext cx="10022000" cy="5147754"/>
            <a:chOff x="415926" y="1447800"/>
            <a:chExt cx="8312400" cy="4886325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B20E0FF-54D9-412A-80C8-684387077033}"/>
                </a:ext>
              </a:extLst>
            </p:cNvPr>
            <p:cNvCxnSpPr/>
            <p:nvPr/>
          </p:nvCxnSpPr>
          <p:spPr>
            <a:xfrm>
              <a:off x="415926" y="2372947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0BE848F-8B74-4380-8D4A-D527D6DCF6C6}"/>
                </a:ext>
              </a:extLst>
            </p:cNvPr>
            <p:cNvGrpSpPr/>
            <p:nvPr/>
          </p:nvGrpSpPr>
          <p:grpSpPr>
            <a:xfrm>
              <a:off x="415926" y="2459811"/>
              <a:ext cx="8310182" cy="838283"/>
              <a:chOff x="415926" y="4119747"/>
              <a:chExt cx="8310182" cy="2204852"/>
            </a:xfrm>
          </p:grpSpPr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5447903C-EFF2-4745-B699-99C6EB2AC35C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A77BAE01-F749-4161-9CD2-79AA6B87B8E1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108000" indent="-10800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dirty="0">
                    <a:solidFill>
                      <a:srgbClr val="000000"/>
                    </a:solidFill>
                  </a:rPr>
                  <a:t> Valoriser le </a:t>
                </a:r>
                <a:r>
                  <a:rPr lang="fr-FR" b="1" dirty="0">
                    <a:solidFill>
                      <a:srgbClr val="000000"/>
                    </a:solidFill>
                  </a:rPr>
                  <a:t>dynamisme des outils</a:t>
                </a:r>
                <a:r>
                  <a:rPr lang="fr-FR" dirty="0">
                    <a:solidFill>
                      <a:srgbClr val="000000"/>
                    </a:solidFill>
                  </a:rPr>
                  <a:t> en </a:t>
                </a:r>
                <a:r>
                  <a:rPr lang="fr-FR" b="1" dirty="0">
                    <a:solidFill>
                      <a:srgbClr val="000000"/>
                    </a:solidFill>
                  </a:rPr>
                  <a:t>mettant à jour les données </a:t>
                </a:r>
                <a:r>
                  <a:rPr lang="fr-FR" dirty="0">
                    <a:solidFill>
                      <a:srgbClr val="000000"/>
                    </a:solidFill>
                  </a:rPr>
                  <a:t>sur les ménages, le secteur privé et les collectivités territoriales dès que les données des comptes de la santé 2017-2020 seront disponibles.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DFACD9CF-AC6D-46F9-BAD5-F9429B4CD7C9}"/>
                </a:ext>
              </a:extLst>
            </p:cNvPr>
            <p:cNvGrpSpPr/>
            <p:nvPr/>
          </p:nvGrpSpPr>
          <p:grpSpPr>
            <a:xfrm>
              <a:off x="415926" y="1447800"/>
              <a:ext cx="8310182" cy="838283"/>
              <a:chOff x="415926" y="1447800"/>
              <a:chExt cx="8310182" cy="2204852"/>
            </a:xfrm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AB11B417-E4B0-4F5D-92DF-8FB81CA9EE10}"/>
                  </a:ext>
                </a:extLst>
              </p:cNvPr>
              <p:cNvSpPr/>
              <p:nvPr/>
            </p:nvSpPr>
            <p:spPr>
              <a:xfrm>
                <a:off x="415926" y="1447800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6E7A72A9-4027-4D51-AB1A-8BE856195E67}"/>
                  </a:ext>
                </a:extLst>
              </p:cNvPr>
              <p:cNvSpPr/>
              <p:nvPr/>
            </p:nvSpPr>
            <p:spPr>
              <a:xfrm>
                <a:off x="1981200" y="1447800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108000" indent="-10800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dirty="0">
                    <a:solidFill>
                      <a:srgbClr val="000000"/>
                    </a:solidFill>
                  </a:rPr>
                  <a:t> Capitaliser sur l'expérience de la cartographie dynamique des ressources: </a:t>
                </a:r>
              </a:p>
              <a:p>
                <a:pPr marL="742950" lvl="1" indent="-285750">
                  <a:spcAft>
                    <a:spcPts val="300"/>
                  </a:spcAft>
                  <a:buFont typeface="Courier New" panose="02070309020205020404" pitchFamily="49" charset="0"/>
                  <a:buChar char="o"/>
                </a:pPr>
                <a:r>
                  <a:rPr lang="fr-FR" dirty="0">
                    <a:solidFill>
                      <a:srgbClr val="000000"/>
                    </a:solidFill>
                  </a:rPr>
                  <a:t> </a:t>
                </a:r>
                <a:r>
                  <a:rPr lang="fr-FR" b="1" dirty="0">
                    <a:solidFill>
                      <a:srgbClr val="000000"/>
                    </a:solidFill>
                  </a:rPr>
                  <a:t>Institutionnalisation en tant qu'activité de routine du ministère de la santé</a:t>
                </a:r>
              </a:p>
              <a:p>
                <a:pPr marL="742950" lvl="1" indent="-285750">
                  <a:spcAft>
                    <a:spcPts val="300"/>
                  </a:spcAft>
                  <a:buFont typeface="Courier New" panose="02070309020205020404" pitchFamily="49" charset="0"/>
                  <a:buChar char="o"/>
                </a:pPr>
                <a:r>
                  <a:rPr lang="fr-FR" dirty="0">
                    <a:solidFill>
                      <a:srgbClr val="000000"/>
                    </a:solidFill>
                  </a:rPr>
                  <a:t> </a:t>
                </a:r>
                <a:r>
                  <a:rPr lang="fr-FR" b="1" dirty="0">
                    <a:solidFill>
                      <a:srgbClr val="000000"/>
                    </a:solidFill>
                  </a:rPr>
                  <a:t>Harmonisation avec les comptes de la santé</a:t>
                </a:r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E6155782-457C-42E7-BD26-1A43064E32D1}"/>
                </a:ext>
              </a:extLst>
            </p:cNvPr>
            <p:cNvGrpSpPr/>
            <p:nvPr/>
          </p:nvGrpSpPr>
          <p:grpSpPr>
            <a:xfrm>
              <a:off x="415926" y="3471821"/>
              <a:ext cx="8310182" cy="838283"/>
              <a:chOff x="415926" y="4119747"/>
              <a:chExt cx="8310182" cy="2204852"/>
            </a:xfrm>
          </p:grpSpPr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636BC4CB-6B79-44A7-AE18-7525548DE815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32482CE8-0C5C-4B64-A531-4DF906197BA1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108000" indent="-10800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b="1" dirty="0">
                    <a:solidFill>
                      <a:srgbClr val="000000"/>
                    </a:solidFill>
                  </a:rPr>
                  <a:t>Optimiser les données pour éviter les duplications des cartographies des ressources </a:t>
                </a:r>
                <a:r>
                  <a:rPr lang="fr-FR" dirty="0">
                    <a:solidFill>
                      <a:srgbClr val="000000"/>
                    </a:solidFill>
                  </a:rPr>
                  <a:t>.</a:t>
                </a:r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C547C51-FC48-4624-8865-BA399063A4A5}"/>
                </a:ext>
              </a:extLst>
            </p:cNvPr>
            <p:cNvCxnSpPr/>
            <p:nvPr/>
          </p:nvCxnSpPr>
          <p:spPr>
            <a:xfrm>
              <a:off x="415926" y="3384957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B84351F8-1CE1-4BC3-9E16-28C7618C58FF}"/>
                </a:ext>
              </a:extLst>
            </p:cNvPr>
            <p:cNvGrpSpPr/>
            <p:nvPr/>
          </p:nvGrpSpPr>
          <p:grpSpPr>
            <a:xfrm>
              <a:off x="415926" y="4483832"/>
              <a:ext cx="8310182" cy="838283"/>
              <a:chOff x="415926" y="4119747"/>
              <a:chExt cx="8310182" cy="2204852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AE38AF85-22FB-4550-9DF9-69DFCC28B9D4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A2407D8F-2BDA-4D24-87EE-8E1659C21CDB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108000" indent="-10800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dirty="0">
                    <a:solidFill>
                      <a:srgbClr val="000000"/>
                    </a:solidFill>
                  </a:rPr>
                  <a:t> Intégrer un </a:t>
                </a:r>
                <a:r>
                  <a:rPr lang="fr-FR" b="1" dirty="0">
                    <a:solidFill>
                      <a:srgbClr val="000000"/>
                    </a:solidFill>
                  </a:rPr>
                  <a:t>calcul des coûts par résultat intermédiaire </a:t>
                </a:r>
                <a:r>
                  <a:rPr lang="fr-FR" dirty="0">
                    <a:solidFill>
                      <a:srgbClr val="000000"/>
                    </a:solidFill>
                  </a:rPr>
                  <a:t>dans la prochaine révision du PNDSS.</a:t>
                </a:r>
                <a:endParaRPr lang="en-US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EC136B63-AA22-4D5A-A0B9-F5776BA196DC}"/>
                </a:ext>
              </a:extLst>
            </p:cNvPr>
            <p:cNvCxnSpPr/>
            <p:nvPr/>
          </p:nvCxnSpPr>
          <p:spPr>
            <a:xfrm>
              <a:off x="415926" y="4396968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8EC13CBF-1E91-4705-9D93-E2D7FE56FED6}"/>
                </a:ext>
              </a:extLst>
            </p:cNvPr>
            <p:cNvGrpSpPr/>
            <p:nvPr/>
          </p:nvGrpSpPr>
          <p:grpSpPr>
            <a:xfrm>
              <a:off x="415926" y="5495842"/>
              <a:ext cx="8310182" cy="838283"/>
              <a:chOff x="415926" y="4119747"/>
              <a:chExt cx="8310182" cy="2204852"/>
            </a:xfrm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B80DDE7A-CBE8-4574-923F-BFF655F16EEE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88703436-77DE-4A49-90E1-BC41781236BD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108000" indent="-10800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b="1" dirty="0">
                    <a:solidFill>
                      <a:srgbClr val="000000"/>
                    </a:solidFill>
                  </a:rPr>
                  <a:t>Désagréger les coûts du DI SRMNIA-N par année. </a:t>
                </a:r>
              </a:p>
            </p:txBody>
          </p:sp>
        </p:grp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DE8D2C27-1427-4AE2-A395-24C65E3E0EC5}"/>
                </a:ext>
              </a:extLst>
            </p:cNvPr>
            <p:cNvCxnSpPr/>
            <p:nvPr/>
          </p:nvCxnSpPr>
          <p:spPr>
            <a:xfrm>
              <a:off x="415926" y="5408978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" name="Graphic 2" descr="Continuous Improvement with solid fill">
            <a:extLst>
              <a:ext uri="{FF2B5EF4-FFF2-40B4-BE49-F238E27FC236}">
                <a16:creationId xmlns:a16="http://schemas.microsoft.com/office/drawing/2014/main" id="{43E7E730-D1FC-4C33-9652-6A5C6565280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294012" y="1297445"/>
            <a:ext cx="914400" cy="914400"/>
          </a:xfrm>
          <a:prstGeom prst="rect">
            <a:avLst/>
          </a:prstGeom>
        </p:spPr>
      </p:pic>
      <p:pic>
        <p:nvPicPr>
          <p:cNvPr id="9" name="Graphic 8" descr="Lightbulb and gear with solid fill">
            <a:extLst>
              <a:ext uri="{FF2B5EF4-FFF2-40B4-BE49-F238E27FC236}">
                <a16:creationId xmlns:a16="http://schemas.microsoft.com/office/drawing/2014/main" id="{9F3DC8C6-09A0-4E7A-A82B-AB52991E03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94012" y="2367258"/>
            <a:ext cx="914400" cy="914400"/>
          </a:xfrm>
          <a:prstGeom prst="rect">
            <a:avLst/>
          </a:prstGeom>
        </p:spPr>
      </p:pic>
      <p:pic>
        <p:nvPicPr>
          <p:cNvPr id="35" name="Graphic 34" descr="Recycle with solid fill">
            <a:extLst>
              <a:ext uri="{FF2B5EF4-FFF2-40B4-BE49-F238E27FC236}">
                <a16:creationId xmlns:a16="http://schemas.microsoft.com/office/drawing/2014/main" id="{ECD36D77-4D84-4E9E-9128-433064D8433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294012" y="3458119"/>
            <a:ext cx="914400" cy="914400"/>
          </a:xfrm>
          <a:prstGeom prst="rect">
            <a:avLst/>
          </a:prstGeom>
        </p:spPr>
      </p:pic>
      <p:pic>
        <p:nvPicPr>
          <p:cNvPr id="37" name="Graphic 36" descr="Abacus with solid fill">
            <a:extLst>
              <a:ext uri="{FF2B5EF4-FFF2-40B4-BE49-F238E27FC236}">
                <a16:creationId xmlns:a16="http://schemas.microsoft.com/office/drawing/2014/main" id="{023B5C7D-885E-4D0A-AC14-D427465C269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294012" y="4499568"/>
            <a:ext cx="914400" cy="914400"/>
          </a:xfrm>
          <a:prstGeom prst="rect">
            <a:avLst/>
          </a:prstGeom>
        </p:spPr>
      </p:pic>
      <p:pic>
        <p:nvPicPr>
          <p:cNvPr id="39" name="Graphic 38" descr="Bar chart with solid fill">
            <a:extLst>
              <a:ext uri="{FF2B5EF4-FFF2-40B4-BE49-F238E27FC236}">
                <a16:creationId xmlns:a16="http://schemas.microsoft.com/office/drawing/2014/main" id="{507C62A5-020B-4910-B59B-52B91950A29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294012" y="555008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7879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BE75E3B-98F2-4150-A2FA-B1506623EA4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416" imgH="416" progId="TCLayout.ActiveDocument.1">
                  <p:embed/>
                </p:oleObj>
              </mc:Choice>
              <mc:Fallback>
                <p:oleObj name="think-cell Slide" r:id="rId5" imgW="416" imgH="41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BE75E3B-98F2-4150-A2FA-B1506623E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itle 2">
            <a:extLst>
              <a:ext uri="{FF2B5EF4-FFF2-40B4-BE49-F238E27FC236}">
                <a16:creationId xmlns:a16="http://schemas.microsoft.com/office/drawing/2014/main" id="{6E2BA281-3661-4BF8-BDFE-4CE202BE82C4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commandations liées à l'analys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4EABBF7-6D0E-44D3-9F75-6A55E2A817B7}"/>
              </a:ext>
            </a:extLst>
          </p:cNvPr>
          <p:cNvGrpSpPr/>
          <p:nvPr/>
        </p:nvGrpSpPr>
        <p:grpSpPr>
          <a:xfrm>
            <a:off x="1028973" y="1234440"/>
            <a:ext cx="10134053" cy="5129467"/>
            <a:chOff x="415926" y="1447800"/>
            <a:chExt cx="8312400" cy="4886325"/>
          </a:xfrm>
        </p:grpSpPr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B21CD93D-E403-433C-A9FE-A0FB4AFE36ED}"/>
                </a:ext>
              </a:extLst>
            </p:cNvPr>
            <p:cNvCxnSpPr/>
            <p:nvPr/>
          </p:nvCxnSpPr>
          <p:spPr>
            <a:xfrm>
              <a:off x="415926" y="262512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C2523EF4-9B81-4219-B522-C8D0BC891C56}"/>
                </a:ext>
              </a:extLst>
            </p:cNvPr>
            <p:cNvGrpSpPr/>
            <p:nvPr/>
          </p:nvGrpSpPr>
          <p:grpSpPr>
            <a:xfrm>
              <a:off x="415926" y="2713640"/>
              <a:ext cx="8310182" cy="1088804"/>
              <a:chOff x="415926" y="4119747"/>
              <a:chExt cx="8310182" cy="2204852"/>
            </a:xfrm>
          </p:grpSpPr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304B38BA-9FC3-4630-9439-C68E2E8FA6CD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731687EE-5FFD-4107-9365-A7F263A00AD2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108000" indent="-10800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dirty="0">
                    <a:solidFill>
                      <a:schemeClr val="tx1"/>
                    </a:solidFill>
                    <a:effectLst/>
                    <a:ea typeface="Calibri" panose="020F0502020204030204" pitchFamily="34" charset="0"/>
                    <a:cs typeface="Arial"/>
                  </a:rPr>
                  <a:t>Exploiter les résultats de la cartographie des ressources pour </a:t>
                </a:r>
                <a:r>
                  <a:rPr lang="fr-FR" b="1" dirty="0">
                    <a:solidFill>
                      <a:schemeClr val="tx1"/>
                    </a:solidFill>
                    <a:ea typeface="Calibri" panose="020F0502020204030204" pitchFamily="34" charset="0"/>
                    <a:cs typeface="Arial"/>
                  </a:rPr>
                  <a:t>optimiser </a:t>
                </a:r>
                <a:r>
                  <a:rPr lang="fr-FR" b="1" dirty="0">
                    <a:solidFill>
                      <a:schemeClr val="tx1"/>
                    </a:solidFill>
                    <a:effectLst/>
                    <a:ea typeface="Calibri" panose="020F0502020204030204" pitchFamily="34" charset="0"/>
                    <a:cs typeface="Arial"/>
                  </a:rPr>
                  <a:t>l'efficacité des ressources et assurer une allocation équitable</a:t>
                </a:r>
                <a:endParaRPr lang="fr-FR" dirty="0">
                  <a:solidFill>
                    <a:schemeClr val="tx1"/>
                  </a:solidFill>
                  <a:effectLst/>
                  <a:ea typeface="Calibri" panose="020F0502020204030204" pitchFamily="34" charset="0"/>
                  <a:cs typeface="Arial"/>
                </a:endParaRPr>
              </a:p>
            </p:txBody>
          </p:sp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E64D2D9E-6B22-4AD3-A1B6-F7E9278F0F16}"/>
                </a:ext>
              </a:extLst>
            </p:cNvPr>
            <p:cNvGrpSpPr/>
            <p:nvPr/>
          </p:nvGrpSpPr>
          <p:grpSpPr>
            <a:xfrm>
              <a:off x="415926" y="1447800"/>
              <a:ext cx="8310182" cy="1088804"/>
              <a:chOff x="415926" y="1447800"/>
              <a:chExt cx="8310182" cy="2204852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EBADE3AF-8CC2-48F0-99E9-C36EDD31594F}"/>
                  </a:ext>
                </a:extLst>
              </p:cNvPr>
              <p:cNvSpPr/>
              <p:nvPr/>
            </p:nvSpPr>
            <p:spPr>
              <a:xfrm>
                <a:off x="415926" y="1447800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409D7B72-3080-46C6-A6B6-E61DE5C3CAE9}"/>
                  </a:ext>
                </a:extLst>
              </p:cNvPr>
              <p:cNvSpPr/>
              <p:nvPr/>
            </p:nvSpPr>
            <p:spPr>
              <a:xfrm>
                <a:off x="1981200" y="1447800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108000" indent="-10800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dirty="0">
                    <a:solidFill>
                      <a:schemeClr val="tx1"/>
                    </a:solidFill>
                    <a:effectLst/>
                    <a:ea typeface="Calibri" panose="020F0502020204030204" pitchFamily="34" charset="0"/>
                    <a:cs typeface="Arial"/>
                  </a:rPr>
                  <a:t>Prioriser la mobilisation des ressources pour </a:t>
                </a:r>
                <a:r>
                  <a:rPr lang="fr-FR" b="1" dirty="0">
                    <a:solidFill>
                      <a:schemeClr val="tx1"/>
                    </a:solidFill>
                    <a:effectLst/>
                    <a:ea typeface="Calibri" panose="020F0502020204030204" pitchFamily="34" charset="0"/>
                    <a:cs typeface="Arial"/>
                  </a:rPr>
                  <a:t>la troisième orientation stratégique du PNDSS </a:t>
                </a:r>
                <a:r>
                  <a:rPr lang="fr-FR" dirty="0">
                    <a:solidFill>
                      <a:schemeClr val="tx1"/>
                    </a:solidFill>
                    <a:effectLst/>
                    <a:ea typeface="Calibri" panose="020F0502020204030204" pitchFamily="34" charset="0"/>
                    <a:cs typeface="Arial"/>
                  </a:rPr>
                  <a:t>afin de diminuer les risques financiers liés aux dépenses directes des ménages.</a:t>
                </a:r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F106D696-F8D9-4894-BB1B-E7C41BBFF2CF}"/>
                </a:ext>
              </a:extLst>
            </p:cNvPr>
            <p:cNvGrpSpPr/>
            <p:nvPr/>
          </p:nvGrpSpPr>
          <p:grpSpPr>
            <a:xfrm>
              <a:off x="415926" y="3979480"/>
              <a:ext cx="8310182" cy="1088804"/>
              <a:chOff x="415926" y="4119747"/>
              <a:chExt cx="8310182" cy="2204852"/>
            </a:xfrm>
          </p:grpSpPr>
          <p:sp>
            <p:nvSpPr>
              <p:cNvPr id="48" name="Rectangle 47">
                <a:extLst>
                  <a:ext uri="{FF2B5EF4-FFF2-40B4-BE49-F238E27FC236}">
                    <a16:creationId xmlns:a16="http://schemas.microsoft.com/office/drawing/2014/main" id="{6A574B74-B271-41AE-803E-6A81946A4506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FB99CBED-8020-4D90-A424-E921988AE117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 algn="just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r>
                  <a:rPr lang="fr-FR" b="1" dirty="0">
                    <a:solidFill>
                      <a:schemeClr val="tx1"/>
                    </a:solidFill>
                    <a:effectLst/>
                    <a:ea typeface="Calibri" panose="020F0502020204030204" pitchFamily="34" charset="0"/>
                    <a:cs typeface="Arial"/>
                  </a:rPr>
                  <a:t>Identifier les opportunités de </a:t>
                </a:r>
                <a:r>
                  <a:rPr lang="fr-FR" b="1" dirty="0">
                    <a:solidFill>
                      <a:schemeClr val="tx1"/>
                    </a:solidFill>
                    <a:ea typeface="Calibri" panose="020F0502020204030204" pitchFamily="34" charset="0"/>
                    <a:cs typeface="Arial"/>
                  </a:rPr>
                  <a:t>mutualisation</a:t>
                </a:r>
                <a:r>
                  <a:rPr lang="fr-FR" b="1" dirty="0">
                    <a:solidFill>
                      <a:schemeClr val="tx1"/>
                    </a:solidFill>
                    <a:effectLst/>
                    <a:ea typeface="Calibri" panose="020F0502020204030204" pitchFamily="34" charset="0"/>
                    <a:cs typeface="Arial"/>
                  </a:rPr>
                  <a:t> afin de éviter les doublons dans la mise en œuvre des programmes. </a:t>
                </a:r>
              </a:p>
            </p:txBody>
          </p:sp>
        </p:grp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9C0BDEE5-0C55-4952-8BCC-85F917C5EBEB}"/>
                </a:ext>
              </a:extLst>
            </p:cNvPr>
            <p:cNvCxnSpPr/>
            <p:nvPr/>
          </p:nvCxnSpPr>
          <p:spPr>
            <a:xfrm>
              <a:off x="415926" y="389096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5BA3F4AC-BB12-4729-9777-048C59956E92}"/>
                </a:ext>
              </a:extLst>
            </p:cNvPr>
            <p:cNvGrpSpPr/>
            <p:nvPr/>
          </p:nvGrpSpPr>
          <p:grpSpPr>
            <a:xfrm>
              <a:off x="415926" y="5245321"/>
              <a:ext cx="8310182" cy="1088804"/>
              <a:chOff x="415926" y="4119747"/>
              <a:chExt cx="8310182" cy="220485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7D77B649-628A-4632-8CB2-C12A0D4D0BE4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endParaRPr lang="en-US" sz="24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9DC65D79-66A6-45E8-942B-C7F2A8C508CC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 algn="just">
                  <a:spcBef>
                    <a:spcPts val="1200"/>
                  </a:spcBef>
                  <a:buFont typeface="Arial" panose="020B0604020202020204" pitchFamily="34" charset="0"/>
                  <a:buChar char="•"/>
                </a:pPr>
                <a:r>
                  <a:rPr lang="fr-FR" b="1" dirty="0">
                    <a:solidFill>
                      <a:schemeClr val="tx1"/>
                    </a:solidFill>
                    <a:ea typeface="Calibri" panose="020F0502020204030204" pitchFamily="34" charset="0"/>
                    <a:cs typeface="Arial"/>
                  </a:rPr>
                  <a:t>Anticiper la diminution du financement extérieur liée aux effets post-COVID19</a:t>
                </a:r>
                <a:r>
                  <a:rPr lang="fr-FR" dirty="0">
                    <a:solidFill>
                      <a:schemeClr val="tx1"/>
                    </a:solidFill>
                    <a:ea typeface="Calibri" panose="020F0502020204030204" pitchFamily="34" charset="0"/>
                    <a:cs typeface="Arial"/>
                  </a:rPr>
                  <a:t> </a:t>
                </a:r>
                <a:endParaRPr lang="fr-FR" dirty="0">
                  <a:solidFill>
                    <a:schemeClr val="tx1"/>
                  </a:solidFill>
                  <a:cs typeface="Arial"/>
                </a:endParaRPr>
              </a:p>
            </p:txBody>
          </p:sp>
        </p:grp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A1FD91D6-9ACA-46E8-8BA5-F7A6CAC51EF2}"/>
                </a:ext>
              </a:extLst>
            </p:cNvPr>
            <p:cNvCxnSpPr/>
            <p:nvPr/>
          </p:nvCxnSpPr>
          <p:spPr>
            <a:xfrm>
              <a:off x="415926" y="515680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Graphic 3" descr="Downward trend graph with solid fill">
            <a:extLst>
              <a:ext uri="{FF2B5EF4-FFF2-40B4-BE49-F238E27FC236}">
                <a16:creationId xmlns:a16="http://schemas.microsoft.com/office/drawing/2014/main" id="{DC78573F-EC8A-4FE7-8C7E-946CDEDC18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35925" y="5243775"/>
            <a:ext cx="1097280" cy="1097280"/>
          </a:xfrm>
          <a:prstGeom prst="rect">
            <a:avLst/>
          </a:prstGeom>
        </p:spPr>
      </p:pic>
      <p:pic>
        <p:nvPicPr>
          <p:cNvPr id="6" name="Graphic 5" descr="Boardroom with solid fill">
            <a:extLst>
              <a:ext uri="{FF2B5EF4-FFF2-40B4-BE49-F238E27FC236}">
                <a16:creationId xmlns:a16="http://schemas.microsoft.com/office/drawing/2014/main" id="{EA74B6AE-F641-49E4-A29D-6DC82AFE20D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335925" y="3892096"/>
            <a:ext cx="1097280" cy="1097280"/>
          </a:xfrm>
          <a:prstGeom prst="rect">
            <a:avLst/>
          </a:prstGeom>
        </p:spPr>
      </p:pic>
      <p:pic>
        <p:nvPicPr>
          <p:cNvPr id="8" name="Graphic 7" descr="Map with pin with solid fill">
            <a:extLst>
              <a:ext uri="{FF2B5EF4-FFF2-40B4-BE49-F238E27FC236}">
                <a16:creationId xmlns:a16="http://schemas.microsoft.com/office/drawing/2014/main" id="{C4CA6B46-D391-4084-BCB9-97DA9AEBE17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335925" y="2587599"/>
            <a:ext cx="1097280" cy="1097280"/>
          </a:xfrm>
          <a:prstGeom prst="rect">
            <a:avLst/>
          </a:prstGeom>
        </p:spPr>
      </p:pic>
      <p:pic>
        <p:nvPicPr>
          <p:cNvPr id="16" name="Graphic 15" descr="Family with two children with solid fill">
            <a:extLst>
              <a:ext uri="{FF2B5EF4-FFF2-40B4-BE49-F238E27FC236}">
                <a16:creationId xmlns:a16="http://schemas.microsoft.com/office/drawing/2014/main" id="{9ECC34BA-A7DD-4B60-AA58-6687F1DFD14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335925" y="1258772"/>
            <a:ext cx="1097280" cy="1097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137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E35C31-FCDC-4F84-9496-5CFCF89D7C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1E35C31-FCDC-4F84-9496-5CFCF89D7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Rectangle 44">
            <a:extLst>
              <a:ext uri="{FF2B5EF4-FFF2-40B4-BE49-F238E27FC236}">
                <a16:creationId xmlns:a16="http://schemas.microsoft.com/office/drawing/2014/main" id="{A8A5DECE-60A7-4B6B-B9D4-98997E28A82E}"/>
              </a:ext>
            </a:extLst>
          </p:cNvPr>
          <p:cNvSpPr/>
          <p:nvPr/>
        </p:nvSpPr>
        <p:spPr>
          <a:xfrm>
            <a:off x="0" y="1493533"/>
            <a:ext cx="8120742" cy="120700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87593531-4DA3-4BA8-BF24-3CAE40130761}"/>
              </a:ext>
            </a:extLst>
          </p:cNvPr>
          <p:cNvSpPr/>
          <p:nvPr/>
        </p:nvSpPr>
        <p:spPr>
          <a:xfrm>
            <a:off x="3781446" y="2687828"/>
            <a:ext cx="8410553" cy="120700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5BE41AA-5F38-402C-9074-42AC3623F05B}"/>
              </a:ext>
            </a:extLst>
          </p:cNvPr>
          <p:cNvSpPr/>
          <p:nvPr/>
        </p:nvSpPr>
        <p:spPr>
          <a:xfrm>
            <a:off x="23240" y="3889893"/>
            <a:ext cx="8173142" cy="120358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8B08EBE-FECB-429A-8878-C6F6D15C3D91}"/>
              </a:ext>
            </a:extLst>
          </p:cNvPr>
          <p:cNvSpPr/>
          <p:nvPr/>
        </p:nvSpPr>
        <p:spPr>
          <a:xfrm>
            <a:off x="3837979" y="5093482"/>
            <a:ext cx="8410553" cy="124657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1" name="그룹 12">
            <a:extLst>
              <a:ext uri="{FF2B5EF4-FFF2-40B4-BE49-F238E27FC236}">
                <a16:creationId xmlns:a16="http://schemas.microsoft.com/office/drawing/2014/main" id="{0CA0E8B6-EDFE-46CE-8591-D8D6CCF7D1D1}"/>
              </a:ext>
            </a:extLst>
          </p:cNvPr>
          <p:cNvGrpSpPr/>
          <p:nvPr/>
        </p:nvGrpSpPr>
        <p:grpSpPr>
          <a:xfrm>
            <a:off x="3872700" y="1204079"/>
            <a:ext cx="4289312" cy="1735456"/>
            <a:chOff x="4054872" y="2062159"/>
            <a:chExt cx="4289312" cy="1262873"/>
          </a:xfrm>
          <a:solidFill>
            <a:schemeClr val="accent1">
              <a:lumMod val="75000"/>
            </a:schemeClr>
          </a:solidFill>
        </p:grpSpPr>
        <p:sp>
          <p:nvSpPr>
            <p:cNvPr id="74" name="Rectangle 44">
              <a:extLst>
                <a:ext uri="{FF2B5EF4-FFF2-40B4-BE49-F238E27FC236}">
                  <a16:creationId xmlns:a16="http://schemas.microsoft.com/office/drawing/2014/main" id="{310CD745-8C2B-488D-8150-5F84F6255199}"/>
                </a:ext>
              </a:extLst>
            </p:cNvPr>
            <p:cNvSpPr/>
            <p:nvPr/>
          </p:nvSpPr>
          <p:spPr>
            <a:xfrm>
              <a:off x="5317238" y="3133113"/>
              <a:ext cx="785533" cy="1919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>
                <a:solidFill>
                  <a:schemeClr val="tx1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AB97F22F-2A70-4A5A-AE69-09E40559CA1B}"/>
                </a:ext>
              </a:extLst>
            </p:cNvPr>
            <p:cNvSpPr/>
            <p:nvPr/>
          </p:nvSpPr>
          <p:spPr>
            <a:xfrm>
              <a:off x="5317238" y="2231199"/>
              <a:ext cx="2747277" cy="1927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  <p:sp>
          <p:nvSpPr>
            <p:cNvPr id="76" name="Isosceles Triangle 5">
              <a:extLst>
                <a:ext uri="{FF2B5EF4-FFF2-40B4-BE49-F238E27FC236}">
                  <a16:creationId xmlns:a16="http://schemas.microsoft.com/office/drawing/2014/main" id="{4728B751-052A-427B-B55E-8B8BD1C1CD01}"/>
                </a:ext>
              </a:extLst>
            </p:cNvPr>
            <p:cNvSpPr/>
            <p:nvPr/>
          </p:nvSpPr>
          <p:spPr>
            <a:xfrm rot="5400000">
              <a:off x="7894041" y="2157089"/>
              <a:ext cx="545074" cy="35521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77" name="Block Arc 2">
              <a:extLst>
                <a:ext uri="{FF2B5EF4-FFF2-40B4-BE49-F238E27FC236}">
                  <a16:creationId xmlns:a16="http://schemas.microsoft.com/office/drawing/2014/main" id="{5AF6FA2A-A2C4-4B92-B246-355D60A55866}"/>
                </a:ext>
              </a:extLst>
            </p:cNvPr>
            <p:cNvSpPr/>
            <p:nvPr/>
          </p:nvSpPr>
          <p:spPr>
            <a:xfrm rot="16200000">
              <a:off x="4139139" y="2146933"/>
              <a:ext cx="1093832" cy="1262365"/>
            </a:xfrm>
            <a:custGeom>
              <a:avLst/>
              <a:gdLst>
                <a:gd name="connsiteX0" fmla="*/ 990372 w 1011518"/>
                <a:gd name="connsiteY0" fmla="*/ 485411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504057 h 1167369"/>
                <a:gd name="connsiteX10" fmla="*/ 0 w 1011518"/>
                <a:gd name="connsiteY10" fmla="*/ 485411 h 1167369"/>
                <a:gd name="connsiteX11" fmla="*/ 1856 w 1011518"/>
                <a:gd name="connsiteY11" fmla="*/ 485411 h 1167369"/>
                <a:gd name="connsiteX12" fmla="*/ 494398 w 1011518"/>
                <a:gd name="connsiteY12" fmla="*/ 94 h 1167369"/>
                <a:gd name="connsiteX13" fmla="*/ 1007742 w 1011518"/>
                <a:gd name="connsiteY13" fmla="*/ 484745 h 1167369"/>
                <a:gd name="connsiteX14" fmla="*/ 990372 w 1011518"/>
                <a:gd name="connsiteY14" fmla="*/ 485411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504057 h 1167369"/>
                <a:gd name="connsiteX10" fmla="*/ 0 w 1011518"/>
                <a:gd name="connsiteY10" fmla="*/ 485411 h 1167369"/>
                <a:gd name="connsiteX11" fmla="*/ 1856 w 1011518"/>
                <a:gd name="connsiteY11" fmla="*/ 485411 h 1167369"/>
                <a:gd name="connsiteX12" fmla="*/ 494398 w 1011518"/>
                <a:gd name="connsiteY12" fmla="*/ 94 h 1167369"/>
                <a:gd name="connsiteX13" fmla="*/ 1007742 w 1011518"/>
                <a:gd name="connsiteY13" fmla="*/ 484745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485411 h 1167369"/>
                <a:gd name="connsiteX10" fmla="*/ 1856 w 1011518"/>
                <a:gd name="connsiteY10" fmla="*/ 485411 h 1167369"/>
                <a:gd name="connsiteX11" fmla="*/ 494398 w 1011518"/>
                <a:gd name="connsiteY11" fmla="*/ 94 h 1167369"/>
                <a:gd name="connsiteX12" fmla="*/ 1007742 w 1011518"/>
                <a:gd name="connsiteY12" fmla="*/ 484745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1381 w 1011518"/>
                <a:gd name="connsiteY3" fmla="*/ 491507 h 1167369"/>
                <a:gd name="connsiteX4" fmla="*/ 497779 w 1011518"/>
                <a:gd name="connsiteY4" fmla="*/ 176552 h 1167369"/>
                <a:gd name="connsiteX5" fmla="*/ 177148 w 1011518"/>
                <a:gd name="connsiteY5" fmla="*/ 497438 h 1167369"/>
                <a:gd name="connsiteX6" fmla="*/ 177148 w 1011518"/>
                <a:gd name="connsiteY6" fmla="*/ 1167369 h 1167369"/>
                <a:gd name="connsiteX7" fmla="*/ 0 w 1011518"/>
                <a:gd name="connsiteY7" fmla="*/ 1167369 h 1167369"/>
                <a:gd name="connsiteX8" fmla="*/ 0 w 1011518"/>
                <a:gd name="connsiteY8" fmla="*/ 485411 h 1167369"/>
                <a:gd name="connsiteX9" fmla="*/ 1856 w 1011518"/>
                <a:gd name="connsiteY9" fmla="*/ 485411 h 1167369"/>
                <a:gd name="connsiteX10" fmla="*/ 494398 w 1011518"/>
                <a:gd name="connsiteY10" fmla="*/ 94 h 1167369"/>
                <a:gd name="connsiteX11" fmla="*/ 1007742 w 1011518"/>
                <a:gd name="connsiteY11" fmla="*/ 484745 h 116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1518" h="1167369">
                  <a:moveTo>
                    <a:pt x="1007742" y="484745"/>
                  </a:moveTo>
                  <a:cubicBezTo>
                    <a:pt x="1009001" y="712286"/>
                    <a:pt x="1010259" y="939828"/>
                    <a:pt x="1011518" y="1167369"/>
                  </a:cubicBezTo>
                  <a:lnTo>
                    <a:pt x="834370" y="1167369"/>
                  </a:lnTo>
                  <a:cubicBezTo>
                    <a:pt x="833374" y="942082"/>
                    <a:pt x="832377" y="716794"/>
                    <a:pt x="831381" y="491507"/>
                  </a:cubicBezTo>
                  <a:cubicBezTo>
                    <a:pt x="824543" y="313175"/>
                    <a:pt x="676210" y="173132"/>
                    <a:pt x="497779" y="176552"/>
                  </a:cubicBezTo>
                  <a:cubicBezTo>
                    <a:pt x="321564" y="179929"/>
                    <a:pt x="180042" y="322001"/>
                    <a:pt x="177148" y="497438"/>
                  </a:cubicBezTo>
                  <a:lnTo>
                    <a:pt x="177148" y="1167369"/>
                  </a:lnTo>
                  <a:lnTo>
                    <a:pt x="0" y="1167369"/>
                  </a:lnTo>
                  <a:lnTo>
                    <a:pt x="0" y="485411"/>
                  </a:lnTo>
                  <a:lnTo>
                    <a:pt x="1856" y="485411"/>
                  </a:lnTo>
                  <a:cubicBezTo>
                    <a:pt x="10052" y="219336"/>
                    <a:pt x="226090" y="5235"/>
                    <a:pt x="494398" y="94"/>
                  </a:cubicBezTo>
                  <a:cubicBezTo>
                    <a:pt x="768966" y="-5168"/>
                    <a:pt x="997220" y="210329"/>
                    <a:pt x="1007742" y="48474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그룹 13">
            <a:extLst>
              <a:ext uri="{FF2B5EF4-FFF2-40B4-BE49-F238E27FC236}">
                <a16:creationId xmlns:a16="http://schemas.microsoft.com/office/drawing/2014/main" id="{A4E45851-C055-4517-B1A8-8662C9435392}"/>
              </a:ext>
            </a:extLst>
          </p:cNvPr>
          <p:cNvGrpSpPr/>
          <p:nvPr/>
        </p:nvGrpSpPr>
        <p:grpSpPr>
          <a:xfrm>
            <a:off x="5630822" y="2368553"/>
            <a:ext cx="2075574" cy="1683074"/>
            <a:chOff x="5747557" y="2962342"/>
            <a:chExt cx="2075574" cy="1257774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70" name="Rectangle 44">
              <a:extLst>
                <a:ext uri="{FF2B5EF4-FFF2-40B4-BE49-F238E27FC236}">
                  <a16:creationId xmlns:a16="http://schemas.microsoft.com/office/drawing/2014/main" id="{3DD168F8-581D-47B6-A2F5-32CF3FD579F3}"/>
                </a:ext>
              </a:extLst>
            </p:cNvPr>
            <p:cNvSpPr/>
            <p:nvPr/>
          </p:nvSpPr>
          <p:spPr>
            <a:xfrm>
              <a:off x="5778874" y="4028197"/>
              <a:ext cx="784800" cy="1919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71" name="Isosceles Triangle 9">
              <a:extLst>
                <a:ext uri="{FF2B5EF4-FFF2-40B4-BE49-F238E27FC236}">
                  <a16:creationId xmlns:a16="http://schemas.microsoft.com/office/drawing/2014/main" id="{D511620A-432E-4DC0-AA07-98136535ECAF}"/>
                </a:ext>
              </a:extLst>
            </p:cNvPr>
            <p:cNvSpPr/>
            <p:nvPr/>
          </p:nvSpPr>
          <p:spPr>
            <a:xfrm rot="16200000">
              <a:off x="5652627" y="3057272"/>
              <a:ext cx="545074" cy="35521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72" name="Rectangle 44">
              <a:extLst>
                <a:ext uri="{FF2B5EF4-FFF2-40B4-BE49-F238E27FC236}">
                  <a16:creationId xmlns:a16="http://schemas.microsoft.com/office/drawing/2014/main" id="{0C1BDC9B-4298-48A7-96F4-2C908FF48F19}"/>
                </a:ext>
              </a:extLst>
            </p:cNvPr>
            <p:cNvSpPr/>
            <p:nvPr/>
          </p:nvSpPr>
          <p:spPr>
            <a:xfrm>
              <a:off x="6095999" y="3126283"/>
              <a:ext cx="467675" cy="1919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73" name="Block Arc 2">
              <a:extLst>
                <a:ext uri="{FF2B5EF4-FFF2-40B4-BE49-F238E27FC236}">
                  <a16:creationId xmlns:a16="http://schemas.microsoft.com/office/drawing/2014/main" id="{2523A069-C7D3-4598-963F-C4F8B6B7D291}"/>
                </a:ext>
              </a:extLst>
            </p:cNvPr>
            <p:cNvSpPr/>
            <p:nvPr/>
          </p:nvSpPr>
          <p:spPr>
            <a:xfrm rot="5400000">
              <a:off x="6645033" y="3041261"/>
              <a:ext cx="1093832" cy="1262365"/>
            </a:xfrm>
            <a:custGeom>
              <a:avLst/>
              <a:gdLst>
                <a:gd name="connsiteX0" fmla="*/ 990372 w 1011518"/>
                <a:gd name="connsiteY0" fmla="*/ 485411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504057 h 1167369"/>
                <a:gd name="connsiteX10" fmla="*/ 0 w 1011518"/>
                <a:gd name="connsiteY10" fmla="*/ 485411 h 1167369"/>
                <a:gd name="connsiteX11" fmla="*/ 1856 w 1011518"/>
                <a:gd name="connsiteY11" fmla="*/ 485411 h 1167369"/>
                <a:gd name="connsiteX12" fmla="*/ 494398 w 1011518"/>
                <a:gd name="connsiteY12" fmla="*/ 94 h 1167369"/>
                <a:gd name="connsiteX13" fmla="*/ 1007742 w 1011518"/>
                <a:gd name="connsiteY13" fmla="*/ 484745 h 1167369"/>
                <a:gd name="connsiteX14" fmla="*/ 990372 w 1011518"/>
                <a:gd name="connsiteY14" fmla="*/ 485411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504057 h 1167369"/>
                <a:gd name="connsiteX10" fmla="*/ 0 w 1011518"/>
                <a:gd name="connsiteY10" fmla="*/ 485411 h 1167369"/>
                <a:gd name="connsiteX11" fmla="*/ 1856 w 1011518"/>
                <a:gd name="connsiteY11" fmla="*/ 485411 h 1167369"/>
                <a:gd name="connsiteX12" fmla="*/ 494398 w 1011518"/>
                <a:gd name="connsiteY12" fmla="*/ 94 h 1167369"/>
                <a:gd name="connsiteX13" fmla="*/ 1007742 w 1011518"/>
                <a:gd name="connsiteY13" fmla="*/ 484745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485411 h 1167369"/>
                <a:gd name="connsiteX10" fmla="*/ 1856 w 1011518"/>
                <a:gd name="connsiteY10" fmla="*/ 485411 h 1167369"/>
                <a:gd name="connsiteX11" fmla="*/ 494398 w 1011518"/>
                <a:gd name="connsiteY11" fmla="*/ 94 h 1167369"/>
                <a:gd name="connsiteX12" fmla="*/ 1007742 w 1011518"/>
                <a:gd name="connsiteY12" fmla="*/ 484745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1381 w 1011518"/>
                <a:gd name="connsiteY3" fmla="*/ 491507 h 1167369"/>
                <a:gd name="connsiteX4" fmla="*/ 497779 w 1011518"/>
                <a:gd name="connsiteY4" fmla="*/ 176552 h 1167369"/>
                <a:gd name="connsiteX5" fmla="*/ 177148 w 1011518"/>
                <a:gd name="connsiteY5" fmla="*/ 497438 h 1167369"/>
                <a:gd name="connsiteX6" fmla="*/ 177148 w 1011518"/>
                <a:gd name="connsiteY6" fmla="*/ 1167369 h 1167369"/>
                <a:gd name="connsiteX7" fmla="*/ 0 w 1011518"/>
                <a:gd name="connsiteY7" fmla="*/ 1167369 h 1167369"/>
                <a:gd name="connsiteX8" fmla="*/ 0 w 1011518"/>
                <a:gd name="connsiteY8" fmla="*/ 485411 h 1167369"/>
                <a:gd name="connsiteX9" fmla="*/ 1856 w 1011518"/>
                <a:gd name="connsiteY9" fmla="*/ 485411 h 1167369"/>
                <a:gd name="connsiteX10" fmla="*/ 494398 w 1011518"/>
                <a:gd name="connsiteY10" fmla="*/ 94 h 1167369"/>
                <a:gd name="connsiteX11" fmla="*/ 1007742 w 1011518"/>
                <a:gd name="connsiteY11" fmla="*/ 484745 h 116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1518" h="1167369">
                  <a:moveTo>
                    <a:pt x="1007742" y="484745"/>
                  </a:moveTo>
                  <a:cubicBezTo>
                    <a:pt x="1009001" y="712286"/>
                    <a:pt x="1010259" y="939828"/>
                    <a:pt x="1011518" y="1167369"/>
                  </a:cubicBezTo>
                  <a:lnTo>
                    <a:pt x="834370" y="1167369"/>
                  </a:lnTo>
                  <a:cubicBezTo>
                    <a:pt x="833374" y="942082"/>
                    <a:pt x="832377" y="716794"/>
                    <a:pt x="831381" y="491507"/>
                  </a:cubicBezTo>
                  <a:cubicBezTo>
                    <a:pt x="824543" y="313175"/>
                    <a:pt x="676210" y="173132"/>
                    <a:pt x="497779" y="176552"/>
                  </a:cubicBezTo>
                  <a:cubicBezTo>
                    <a:pt x="321564" y="179929"/>
                    <a:pt x="180042" y="322001"/>
                    <a:pt x="177148" y="497438"/>
                  </a:cubicBezTo>
                  <a:lnTo>
                    <a:pt x="177148" y="1167369"/>
                  </a:lnTo>
                  <a:lnTo>
                    <a:pt x="0" y="1167369"/>
                  </a:lnTo>
                  <a:lnTo>
                    <a:pt x="0" y="485411"/>
                  </a:lnTo>
                  <a:lnTo>
                    <a:pt x="1856" y="485411"/>
                  </a:lnTo>
                  <a:cubicBezTo>
                    <a:pt x="10052" y="219336"/>
                    <a:pt x="226090" y="5235"/>
                    <a:pt x="494398" y="94"/>
                  </a:cubicBezTo>
                  <a:cubicBezTo>
                    <a:pt x="768966" y="-5168"/>
                    <a:pt x="997220" y="210329"/>
                    <a:pt x="1007742" y="48474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/>
            </a:p>
          </p:txBody>
        </p:sp>
      </p:grpSp>
      <p:sp>
        <p:nvSpPr>
          <p:cNvPr id="69" name="TextBox 14">
            <a:extLst>
              <a:ext uri="{FF2B5EF4-FFF2-40B4-BE49-F238E27FC236}">
                <a16:creationId xmlns:a16="http://schemas.microsoft.com/office/drawing/2014/main" id="{C22BBD7C-AF3F-40D6-A65E-7E041EC66944}"/>
              </a:ext>
            </a:extLst>
          </p:cNvPr>
          <p:cNvSpPr txBox="1"/>
          <p:nvPr/>
        </p:nvSpPr>
        <p:spPr>
          <a:xfrm>
            <a:off x="160202" y="1541111"/>
            <a:ext cx="373505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solidation et nettoyage des donné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nalyse des donné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altLang="ko-K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Partage des analyses préliminai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altLang="ko-K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Validation des résultats et du rapport fin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altLang="ko-K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issémination des résultats</a:t>
            </a:r>
          </a:p>
        </p:txBody>
      </p:sp>
      <p:sp>
        <p:nvSpPr>
          <p:cNvPr id="67" name="TextBox 17">
            <a:extLst>
              <a:ext uri="{FF2B5EF4-FFF2-40B4-BE49-F238E27FC236}">
                <a16:creationId xmlns:a16="http://schemas.microsoft.com/office/drawing/2014/main" id="{09F5707B-A120-41C4-B03E-5BF6B2E065FC}"/>
              </a:ext>
            </a:extLst>
          </p:cNvPr>
          <p:cNvSpPr txBox="1"/>
          <p:nvPr/>
        </p:nvSpPr>
        <p:spPr>
          <a:xfrm>
            <a:off x="7882343" y="2670168"/>
            <a:ext cx="427546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altLang="ko-K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Organisation et supervision du processus de collecte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altLang="ko-K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ontrôle de la qualité des données soumises et validation des données individuelles avec chaque acteur</a:t>
            </a:r>
          </a:p>
        </p:txBody>
      </p:sp>
      <p:sp>
        <p:nvSpPr>
          <p:cNvPr id="65" name="TextBox 20">
            <a:extLst>
              <a:ext uri="{FF2B5EF4-FFF2-40B4-BE49-F238E27FC236}">
                <a16:creationId xmlns:a16="http://schemas.microsoft.com/office/drawing/2014/main" id="{81119A87-5529-4C1A-A2F3-484633664805}"/>
              </a:ext>
            </a:extLst>
          </p:cNvPr>
          <p:cNvSpPr txBox="1"/>
          <p:nvPr/>
        </p:nvSpPr>
        <p:spPr>
          <a:xfrm>
            <a:off x="7806799" y="5191464"/>
            <a:ext cx="427546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vue des </a:t>
            </a: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cuments stratégiques et autres sources d'information;</a:t>
            </a:r>
          </a:p>
          <a:p>
            <a:pPr marL="285750" indent="-285750" defTabSz="914400">
              <a:buFont typeface="Arial" panose="020B0604020202020204" pitchFamily="34" charset="0"/>
              <a:buChar char="•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dentification des processus et flux financiers</a:t>
            </a:r>
            <a:endParaRPr lang="en-US" sz="1400" kern="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3" name="TextBox 23">
            <a:extLst>
              <a:ext uri="{FF2B5EF4-FFF2-40B4-BE49-F238E27FC236}">
                <a16:creationId xmlns:a16="http://schemas.microsoft.com/office/drawing/2014/main" id="{07E37D1B-EC3C-4FA4-9BAB-6FED76F53853}"/>
              </a:ext>
            </a:extLst>
          </p:cNvPr>
          <p:cNvSpPr txBox="1"/>
          <p:nvPr/>
        </p:nvSpPr>
        <p:spPr>
          <a:xfrm>
            <a:off x="97292" y="3839693"/>
            <a:ext cx="384008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defTabSz="914400">
              <a:buSzPct val="90000"/>
              <a:buFont typeface="Arial" panose="020B0604020202020204" pitchFamily="34" charset="0"/>
              <a:buChar char="•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Détermination des principaux critères et catégories à inclure dans la cartographie des ressources</a:t>
            </a:r>
            <a:endParaRPr lang="en-US" sz="14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914400">
              <a:buSzPct val="90000"/>
              <a:buFont typeface="Arial" panose="020B0604020202020204" pitchFamily="34" charset="0"/>
              <a:buChar char="•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Identification des PTF et acteurs </a:t>
            </a:r>
          </a:p>
          <a:p>
            <a:pPr marL="285750" indent="-285750" defTabSz="914400">
              <a:buSzPct val="90000"/>
              <a:buFont typeface="Arial" panose="020B0604020202020204" pitchFamily="34" charset="0"/>
              <a:buChar char="•"/>
            </a:pPr>
            <a:r>
              <a:rPr lang="fr-F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Création et validation de l’outil</a:t>
            </a:r>
          </a:p>
        </p:txBody>
      </p:sp>
      <p:sp>
        <p:nvSpPr>
          <p:cNvPr id="48" name="Oval 28">
            <a:extLst>
              <a:ext uri="{FF2B5EF4-FFF2-40B4-BE49-F238E27FC236}">
                <a16:creationId xmlns:a16="http://schemas.microsoft.com/office/drawing/2014/main" id="{039A0ECC-D748-4BDD-9CC3-E3D0A0CF81B3}"/>
              </a:ext>
            </a:extLst>
          </p:cNvPr>
          <p:cNvSpPr/>
          <p:nvPr/>
        </p:nvSpPr>
        <p:spPr>
          <a:xfrm>
            <a:off x="4175723" y="1818056"/>
            <a:ext cx="870041" cy="774339"/>
          </a:xfrm>
          <a:prstGeom prst="ellipse">
            <a:avLst/>
          </a:pr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49" name="Oval 29">
            <a:extLst>
              <a:ext uri="{FF2B5EF4-FFF2-40B4-BE49-F238E27FC236}">
                <a16:creationId xmlns:a16="http://schemas.microsoft.com/office/drawing/2014/main" id="{39E74553-2CF7-4C01-A482-663DFD05463E}"/>
              </a:ext>
            </a:extLst>
          </p:cNvPr>
          <p:cNvSpPr/>
          <p:nvPr/>
        </p:nvSpPr>
        <p:spPr>
          <a:xfrm>
            <a:off x="6678331" y="2945823"/>
            <a:ext cx="774429" cy="745886"/>
          </a:xfrm>
          <a:prstGeom prst="ellipse">
            <a:avLst/>
          </a:prstGeom>
          <a:noFill/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0" name="Oval 30">
            <a:extLst>
              <a:ext uri="{FF2B5EF4-FFF2-40B4-BE49-F238E27FC236}">
                <a16:creationId xmlns:a16="http://schemas.microsoft.com/office/drawing/2014/main" id="{DF6A9611-09C5-40CB-9142-C2A676D8BBE6}"/>
              </a:ext>
            </a:extLst>
          </p:cNvPr>
          <p:cNvSpPr/>
          <p:nvPr/>
        </p:nvSpPr>
        <p:spPr>
          <a:xfrm>
            <a:off x="4208121" y="4050615"/>
            <a:ext cx="837643" cy="800573"/>
          </a:xfrm>
          <a:prstGeom prst="ellipse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sp>
        <p:nvSpPr>
          <p:cNvPr id="51" name="Oval 31">
            <a:extLst>
              <a:ext uri="{FF2B5EF4-FFF2-40B4-BE49-F238E27FC236}">
                <a16:creationId xmlns:a16="http://schemas.microsoft.com/office/drawing/2014/main" id="{B83CD6D8-3814-416F-8EDB-F03FC6FD4F7C}"/>
              </a:ext>
            </a:extLst>
          </p:cNvPr>
          <p:cNvSpPr/>
          <p:nvPr/>
        </p:nvSpPr>
        <p:spPr>
          <a:xfrm>
            <a:off x="6678331" y="5261324"/>
            <a:ext cx="793764" cy="754203"/>
          </a:xfrm>
          <a:prstGeom prst="ellipse">
            <a:avLst/>
          </a:prstGeom>
          <a:noFill/>
          <a:ln w="19050"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grpSp>
        <p:nvGrpSpPr>
          <p:cNvPr id="52" name="그룹 14">
            <a:extLst>
              <a:ext uri="{FF2B5EF4-FFF2-40B4-BE49-F238E27FC236}">
                <a16:creationId xmlns:a16="http://schemas.microsoft.com/office/drawing/2014/main" id="{041BD380-EE35-43C7-82EC-5B34B8D499FB}"/>
              </a:ext>
            </a:extLst>
          </p:cNvPr>
          <p:cNvGrpSpPr/>
          <p:nvPr/>
        </p:nvGrpSpPr>
        <p:grpSpPr>
          <a:xfrm>
            <a:off x="3938138" y="3528546"/>
            <a:ext cx="2079217" cy="1662918"/>
            <a:chOff x="4054872" y="3855554"/>
            <a:chExt cx="2079217" cy="1269226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58" name="Rectangle 44">
              <a:extLst>
                <a:ext uri="{FF2B5EF4-FFF2-40B4-BE49-F238E27FC236}">
                  <a16:creationId xmlns:a16="http://schemas.microsoft.com/office/drawing/2014/main" id="{7FB4DC10-5185-4073-998E-0F1980623DAC}"/>
                </a:ext>
              </a:extLst>
            </p:cNvPr>
            <p:cNvSpPr/>
            <p:nvPr/>
          </p:nvSpPr>
          <p:spPr>
            <a:xfrm>
              <a:off x="5317238" y="4932861"/>
              <a:ext cx="785533" cy="1919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59" name="Block Arc 2">
              <a:extLst>
                <a:ext uri="{FF2B5EF4-FFF2-40B4-BE49-F238E27FC236}">
                  <a16:creationId xmlns:a16="http://schemas.microsoft.com/office/drawing/2014/main" id="{185F0E55-BA9A-455E-8578-0010ACA0430C}"/>
                </a:ext>
              </a:extLst>
            </p:cNvPr>
            <p:cNvSpPr/>
            <p:nvPr/>
          </p:nvSpPr>
          <p:spPr>
            <a:xfrm rot="16200000">
              <a:off x="4139139" y="3946681"/>
              <a:ext cx="1093832" cy="1262365"/>
            </a:xfrm>
            <a:custGeom>
              <a:avLst/>
              <a:gdLst>
                <a:gd name="connsiteX0" fmla="*/ 990372 w 1011518"/>
                <a:gd name="connsiteY0" fmla="*/ 485411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504057 h 1167369"/>
                <a:gd name="connsiteX10" fmla="*/ 0 w 1011518"/>
                <a:gd name="connsiteY10" fmla="*/ 485411 h 1167369"/>
                <a:gd name="connsiteX11" fmla="*/ 1856 w 1011518"/>
                <a:gd name="connsiteY11" fmla="*/ 485411 h 1167369"/>
                <a:gd name="connsiteX12" fmla="*/ 494398 w 1011518"/>
                <a:gd name="connsiteY12" fmla="*/ 94 h 1167369"/>
                <a:gd name="connsiteX13" fmla="*/ 1007742 w 1011518"/>
                <a:gd name="connsiteY13" fmla="*/ 484745 h 1167369"/>
                <a:gd name="connsiteX14" fmla="*/ 990372 w 1011518"/>
                <a:gd name="connsiteY14" fmla="*/ 485411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504057 h 1167369"/>
                <a:gd name="connsiteX10" fmla="*/ 0 w 1011518"/>
                <a:gd name="connsiteY10" fmla="*/ 485411 h 1167369"/>
                <a:gd name="connsiteX11" fmla="*/ 1856 w 1011518"/>
                <a:gd name="connsiteY11" fmla="*/ 485411 h 1167369"/>
                <a:gd name="connsiteX12" fmla="*/ 494398 w 1011518"/>
                <a:gd name="connsiteY12" fmla="*/ 94 h 1167369"/>
                <a:gd name="connsiteX13" fmla="*/ 1007742 w 1011518"/>
                <a:gd name="connsiteY13" fmla="*/ 484745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4370 w 1011518"/>
                <a:gd name="connsiteY3" fmla="*/ 491393 h 1167369"/>
                <a:gd name="connsiteX4" fmla="*/ 831381 w 1011518"/>
                <a:gd name="connsiteY4" fmla="*/ 491507 h 1167369"/>
                <a:gd name="connsiteX5" fmla="*/ 497779 w 1011518"/>
                <a:gd name="connsiteY5" fmla="*/ 176552 h 1167369"/>
                <a:gd name="connsiteX6" fmla="*/ 177148 w 1011518"/>
                <a:gd name="connsiteY6" fmla="*/ 497438 h 1167369"/>
                <a:gd name="connsiteX7" fmla="*/ 177148 w 1011518"/>
                <a:gd name="connsiteY7" fmla="*/ 1167369 h 1167369"/>
                <a:gd name="connsiteX8" fmla="*/ 0 w 1011518"/>
                <a:gd name="connsiteY8" fmla="*/ 1167369 h 1167369"/>
                <a:gd name="connsiteX9" fmla="*/ 0 w 1011518"/>
                <a:gd name="connsiteY9" fmla="*/ 485411 h 1167369"/>
                <a:gd name="connsiteX10" fmla="*/ 1856 w 1011518"/>
                <a:gd name="connsiteY10" fmla="*/ 485411 h 1167369"/>
                <a:gd name="connsiteX11" fmla="*/ 494398 w 1011518"/>
                <a:gd name="connsiteY11" fmla="*/ 94 h 1167369"/>
                <a:gd name="connsiteX12" fmla="*/ 1007742 w 1011518"/>
                <a:gd name="connsiteY12" fmla="*/ 484745 h 1167369"/>
                <a:gd name="connsiteX0" fmla="*/ 1007742 w 1011518"/>
                <a:gd name="connsiteY0" fmla="*/ 484745 h 1167369"/>
                <a:gd name="connsiteX1" fmla="*/ 1011518 w 1011518"/>
                <a:gd name="connsiteY1" fmla="*/ 1167369 h 1167369"/>
                <a:gd name="connsiteX2" fmla="*/ 834370 w 1011518"/>
                <a:gd name="connsiteY2" fmla="*/ 1167369 h 1167369"/>
                <a:gd name="connsiteX3" fmla="*/ 831381 w 1011518"/>
                <a:gd name="connsiteY3" fmla="*/ 491507 h 1167369"/>
                <a:gd name="connsiteX4" fmla="*/ 497779 w 1011518"/>
                <a:gd name="connsiteY4" fmla="*/ 176552 h 1167369"/>
                <a:gd name="connsiteX5" fmla="*/ 177148 w 1011518"/>
                <a:gd name="connsiteY5" fmla="*/ 497438 h 1167369"/>
                <a:gd name="connsiteX6" fmla="*/ 177148 w 1011518"/>
                <a:gd name="connsiteY6" fmla="*/ 1167369 h 1167369"/>
                <a:gd name="connsiteX7" fmla="*/ 0 w 1011518"/>
                <a:gd name="connsiteY7" fmla="*/ 1167369 h 1167369"/>
                <a:gd name="connsiteX8" fmla="*/ 0 w 1011518"/>
                <a:gd name="connsiteY8" fmla="*/ 485411 h 1167369"/>
                <a:gd name="connsiteX9" fmla="*/ 1856 w 1011518"/>
                <a:gd name="connsiteY9" fmla="*/ 485411 h 1167369"/>
                <a:gd name="connsiteX10" fmla="*/ 494398 w 1011518"/>
                <a:gd name="connsiteY10" fmla="*/ 94 h 1167369"/>
                <a:gd name="connsiteX11" fmla="*/ 1007742 w 1011518"/>
                <a:gd name="connsiteY11" fmla="*/ 484745 h 116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11518" h="1167369">
                  <a:moveTo>
                    <a:pt x="1007742" y="484745"/>
                  </a:moveTo>
                  <a:cubicBezTo>
                    <a:pt x="1009001" y="712286"/>
                    <a:pt x="1010259" y="939828"/>
                    <a:pt x="1011518" y="1167369"/>
                  </a:cubicBezTo>
                  <a:lnTo>
                    <a:pt x="834370" y="1167369"/>
                  </a:lnTo>
                  <a:cubicBezTo>
                    <a:pt x="833374" y="942082"/>
                    <a:pt x="832377" y="716794"/>
                    <a:pt x="831381" y="491507"/>
                  </a:cubicBezTo>
                  <a:cubicBezTo>
                    <a:pt x="824543" y="313175"/>
                    <a:pt x="676210" y="173132"/>
                    <a:pt x="497779" y="176552"/>
                  </a:cubicBezTo>
                  <a:cubicBezTo>
                    <a:pt x="321564" y="179929"/>
                    <a:pt x="180042" y="322001"/>
                    <a:pt x="177148" y="497438"/>
                  </a:cubicBezTo>
                  <a:lnTo>
                    <a:pt x="177148" y="1167369"/>
                  </a:lnTo>
                  <a:lnTo>
                    <a:pt x="0" y="1167369"/>
                  </a:lnTo>
                  <a:lnTo>
                    <a:pt x="0" y="485411"/>
                  </a:lnTo>
                  <a:lnTo>
                    <a:pt x="1856" y="485411"/>
                  </a:lnTo>
                  <a:cubicBezTo>
                    <a:pt x="10052" y="219336"/>
                    <a:pt x="226090" y="5235"/>
                    <a:pt x="494398" y="94"/>
                  </a:cubicBezTo>
                  <a:cubicBezTo>
                    <a:pt x="768966" y="-5168"/>
                    <a:pt x="997220" y="210329"/>
                    <a:pt x="1007742" y="48474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60" name="Isosceles Triangle 35">
              <a:extLst>
                <a:ext uri="{FF2B5EF4-FFF2-40B4-BE49-F238E27FC236}">
                  <a16:creationId xmlns:a16="http://schemas.microsoft.com/office/drawing/2014/main" id="{9D10F82E-BB82-4C4F-B3E0-D4485EB665E2}"/>
                </a:ext>
              </a:extLst>
            </p:cNvPr>
            <p:cNvSpPr/>
            <p:nvPr/>
          </p:nvSpPr>
          <p:spPr>
            <a:xfrm rot="5400000">
              <a:off x="5683946" y="3950484"/>
              <a:ext cx="545074" cy="35521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61" name="Rectangle 44">
              <a:extLst>
                <a:ext uri="{FF2B5EF4-FFF2-40B4-BE49-F238E27FC236}">
                  <a16:creationId xmlns:a16="http://schemas.microsoft.com/office/drawing/2014/main" id="{E708ABEF-C5E2-45CE-BACC-C13D3F8D7950}"/>
                </a:ext>
              </a:extLst>
            </p:cNvPr>
            <p:cNvSpPr/>
            <p:nvPr/>
          </p:nvSpPr>
          <p:spPr>
            <a:xfrm>
              <a:off x="5317239" y="4030947"/>
              <a:ext cx="559042" cy="1919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</p:grpSp>
      <p:sp>
        <p:nvSpPr>
          <p:cNvPr id="55" name="Frame 17">
            <a:extLst>
              <a:ext uri="{FF2B5EF4-FFF2-40B4-BE49-F238E27FC236}">
                <a16:creationId xmlns:a16="http://schemas.microsoft.com/office/drawing/2014/main" id="{23F7E68E-7662-4493-92AA-C5E92068A321}"/>
              </a:ext>
            </a:extLst>
          </p:cNvPr>
          <p:cNvSpPr/>
          <p:nvPr/>
        </p:nvSpPr>
        <p:spPr>
          <a:xfrm>
            <a:off x="4391016" y="1979170"/>
            <a:ext cx="387691" cy="417570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010A4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ko-KR" altLang="en-US" sz="2700" kern="0" dirty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78" name="그룹 15">
            <a:extLst>
              <a:ext uri="{FF2B5EF4-FFF2-40B4-BE49-F238E27FC236}">
                <a16:creationId xmlns:a16="http://schemas.microsoft.com/office/drawing/2014/main" id="{80FAED10-9815-4D9C-88E2-D0001D0E9E3E}"/>
              </a:ext>
            </a:extLst>
          </p:cNvPr>
          <p:cNvGrpSpPr/>
          <p:nvPr/>
        </p:nvGrpSpPr>
        <p:grpSpPr>
          <a:xfrm>
            <a:off x="0" y="4716603"/>
            <a:ext cx="7706397" cy="1630724"/>
            <a:chOff x="116734" y="4753300"/>
            <a:chExt cx="7706397" cy="1270369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9" name="Block Arc 2">
              <a:extLst>
                <a:ext uri="{FF2B5EF4-FFF2-40B4-BE49-F238E27FC236}">
                  <a16:creationId xmlns:a16="http://schemas.microsoft.com/office/drawing/2014/main" id="{72DF6F44-A8AF-44CC-B5C1-A1A38BCA0B59}"/>
                </a:ext>
              </a:extLst>
            </p:cNvPr>
            <p:cNvSpPr/>
            <p:nvPr/>
          </p:nvSpPr>
          <p:spPr>
            <a:xfrm rot="5400000">
              <a:off x="6645033" y="4845570"/>
              <a:ext cx="1093832" cy="1262365"/>
            </a:xfrm>
            <a:custGeom>
              <a:avLst/>
              <a:gdLst/>
              <a:ahLst/>
              <a:cxnLst/>
              <a:rect l="l" t="t" r="r" b="b"/>
              <a:pathLst>
                <a:path w="1011518" h="1167369">
                  <a:moveTo>
                    <a:pt x="1011518" y="485411"/>
                  </a:moveTo>
                  <a:lnTo>
                    <a:pt x="1011518" y="1167369"/>
                  </a:lnTo>
                  <a:lnTo>
                    <a:pt x="834370" y="1167369"/>
                  </a:lnTo>
                  <a:lnTo>
                    <a:pt x="834370" y="491393"/>
                  </a:lnTo>
                  <a:lnTo>
                    <a:pt x="831381" y="491507"/>
                  </a:lnTo>
                  <a:cubicBezTo>
                    <a:pt x="824543" y="313175"/>
                    <a:pt x="676210" y="173132"/>
                    <a:pt x="497779" y="176552"/>
                  </a:cubicBezTo>
                  <a:cubicBezTo>
                    <a:pt x="321564" y="179929"/>
                    <a:pt x="180042" y="322001"/>
                    <a:pt x="177148" y="497438"/>
                  </a:cubicBezTo>
                  <a:lnTo>
                    <a:pt x="177148" y="1167369"/>
                  </a:lnTo>
                  <a:lnTo>
                    <a:pt x="0" y="1167369"/>
                  </a:lnTo>
                  <a:lnTo>
                    <a:pt x="0" y="504057"/>
                  </a:lnTo>
                  <a:lnTo>
                    <a:pt x="0" y="485411"/>
                  </a:lnTo>
                  <a:lnTo>
                    <a:pt x="1856" y="485411"/>
                  </a:lnTo>
                  <a:cubicBezTo>
                    <a:pt x="10052" y="219336"/>
                    <a:pt x="226090" y="5235"/>
                    <a:pt x="494398" y="94"/>
                  </a:cubicBezTo>
                  <a:cubicBezTo>
                    <a:pt x="768966" y="-5168"/>
                    <a:pt x="997220" y="210329"/>
                    <a:pt x="1007742" y="484745"/>
                  </a:cubicBezTo>
                  <a:lnTo>
                    <a:pt x="990372" y="48541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 dirty="0">
                <a:solidFill>
                  <a:schemeClr val="tx1"/>
                </a:solidFill>
              </a:endParaRPr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DCE720B7-4328-4348-A50E-CA79FB437E62}"/>
                </a:ext>
              </a:extLst>
            </p:cNvPr>
            <p:cNvSpPr/>
            <p:nvPr/>
          </p:nvSpPr>
          <p:spPr>
            <a:xfrm>
              <a:off x="116734" y="5828472"/>
              <a:ext cx="6446939" cy="1919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81" name="Isosceles Triangle 40">
              <a:extLst>
                <a:ext uri="{FF2B5EF4-FFF2-40B4-BE49-F238E27FC236}">
                  <a16:creationId xmlns:a16="http://schemas.microsoft.com/office/drawing/2014/main" id="{BCAD5D82-CDC1-48AB-B0BF-E09C71C72E0C}"/>
                </a:ext>
              </a:extLst>
            </p:cNvPr>
            <p:cNvSpPr/>
            <p:nvPr/>
          </p:nvSpPr>
          <p:spPr>
            <a:xfrm rot="16200000">
              <a:off x="5652627" y="4848230"/>
              <a:ext cx="545074" cy="355213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82" name="Rectangle 44">
              <a:extLst>
                <a:ext uri="{FF2B5EF4-FFF2-40B4-BE49-F238E27FC236}">
                  <a16:creationId xmlns:a16="http://schemas.microsoft.com/office/drawing/2014/main" id="{63D25F2F-1E74-43D5-941F-882EEA009948}"/>
                </a:ext>
              </a:extLst>
            </p:cNvPr>
            <p:cNvSpPr/>
            <p:nvPr/>
          </p:nvSpPr>
          <p:spPr>
            <a:xfrm>
              <a:off x="6102771" y="4936555"/>
              <a:ext cx="460903" cy="19191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</p:grpSp>
      <p:sp>
        <p:nvSpPr>
          <p:cNvPr id="84" name="ZoneTexte 83">
            <a:extLst>
              <a:ext uri="{FF2B5EF4-FFF2-40B4-BE49-F238E27FC236}">
                <a16:creationId xmlns:a16="http://schemas.microsoft.com/office/drawing/2014/main" id="{8257B7EB-3D7F-4510-9E9B-EEFD50A5E957}"/>
              </a:ext>
            </a:extLst>
          </p:cNvPr>
          <p:cNvSpPr txBox="1"/>
          <p:nvPr/>
        </p:nvSpPr>
        <p:spPr>
          <a:xfrm>
            <a:off x="4034232" y="5366676"/>
            <a:ext cx="292428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fr-FR" sz="16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hase 1 : Phase préparatoire</a:t>
            </a:r>
            <a:endParaRPr lang="fr-FR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ZoneTexte 85">
            <a:extLst>
              <a:ext uri="{FF2B5EF4-FFF2-40B4-BE49-F238E27FC236}">
                <a16:creationId xmlns:a16="http://schemas.microsoft.com/office/drawing/2014/main" id="{D5559000-C91C-4516-99C9-EB9DC30F24FC}"/>
              </a:ext>
            </a:extLst>
          </p:cNvPr>
          <p:cNvSpPr txBox="1"/>
          <p:nvPr/>
        </p:nvSpPr>
        <p:spPr>
          <a:xfrm>
            <a:off x="5041095" y="4058634"/>
            <a:ext cx="315604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FR" sz="1600" dirty="0"/>
              <a:t>Phase 2 : Création et validation de l'outil de collecte des données</a:t>
            </a:r>
          </a:p>
        </p:txBody>
      </p:sp>
      <p:sp>
        <p:nvSpPr>
          <p:cNvPr id="92" name="ZoneTexte 91">
            <a:extLst>
              <a:ext uri="{FF2B5EF4-FFF2-40B4-BE49-F238E27FC236}">
                <a16:creationId xmlns:a16="http://schemas.microsoft.com/office/drawing/2014/main" id="{8236F9AE-E1BE-4B4C-8EC2-88C4214FFC92}"/>
              </a:ext>
            </a:extLst>
          </p:cNvPr>
          <p:cNvSpPr txBox="1"/>
          <p:nvPr/>
        </p:nvSpPr>
        <p:spPr>
          <a:xfrm>
            <a:off x="3470086" y="3041561"/>
            <a:ext cx="315604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1400" b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fr-FR" sz="1600" dirty="0"/>
              <a:t>Phase 3 : Collecte et validation des données</a:t>
            </a:r>
          </a:p>
        </p:txBody>
      </p:sp>
      <p:sp>
        <p:nvSpPr>
          <p:cNvPr id="94" name="ZoneTexte 93">
            <a:extLst>
              <a:ext uri="{FF2B5EF4-FFF2-40B4-BE49-F238E27FC236}">
                <a16:creationId xmlns:a16="http://schemas.microsoft.com/office/drawing/2014/main" id="{4021497F-2934-4C59-B876-B7D44F69A6CE}"/>
              </a:ext>
            </a:extLst>
          </p:cNvPr>
          <p:cNvSpPr txBox="1"/>
          <p:nvPr/>
        </p:nvSpPr>
        <p:spPr>
          <a:xfrm>
            <a:off x="4906542" y="1894643"/>
            <a:ext cx="3074977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defRPr>
            </a:lvl1pPr>
          </a:lstStyle>
          <a:p>
            <a:r>
              <a:rPr lang="fr-FR" sz="1600" dirty="0"/>
              <a:t>Phase 4 : Analyse des données et résultats</a:t>
            </a:r>
          </a:p>
        </p:txBody>
      </p:sp>
      <p:sp>
        <p:nvSpPr>
          <p:cNvPr id="97" name="Rectangle 16">
            <a:extLst>
              <a:ext uri="{FF2B5EF4-FFF2-40B4-BE49-F238E27FC236}">
                <a16:creationId xmlns:a16="http://schemas.microsoft.com/office/drawing/2014/main" id="{8E995078-5DDF-426B-81E8-DD8717A5AA43}"/>
              </a:ext>
            </a:extLst>
          </p:cNvPr>
          <p:cNvSpPr/>
          <p:nvPr/>
        </p:nvSpPr>
        <p:spPr>
          <a:xfrm rot="2700000">
            <a:off x="6868125" y="5296761"/>
            <a:ext cx="389390" cy="698103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rgbClr val="010A4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00" name="Donut 24">
            <a:extLst>
              <a:ext uri="{FF2B5EF4-FFF2-40B4-BE49-F238E27FC236}">
                <a16:creationId xmlns:a16="http://schemas.microsoft.com/office/drawing/2014/main" id="{175745E9-09F2-4A47-87F5-496146C1DCD8}"/>
              </a:ext>
            </a:extLst>
          </p:cNvPr>
          <p:cNvSpPr/>
          <p:nvPr/>
        </p:nvSpPr>
        <p:spPr>
          <a:xfrm>
            <a:off x="4301989" y="4129878"/>
            <a:ext cx="617508" cy="622535"/>
          </a:xfrm>
          <a:custGeom>
            <a:avLst/>
            <a:gdLst/>
            <a:ahLst/>
            <a:cxnLst/>
            <a:rect l="l" t="t" r="r" b="b"/>
            <a:pathLst>
              <a:path w="3208412" h="3234532">
                <a:moveTo>
                  <a:pt x="1561445" y="1065858"/>
                </a:moveTo>
                <a:cubicBezTo>
                  <a:pt x="1654998" y="1065858"/>
                  <a:pt x="1743610" y="1087015"/>
                  <a:pt x="1821879" y="1126644"/>
                </a:cubicBezTo>
                <a:lnTo>
                  <a:pt x="1611352" y="1337172"/>
                </a:lnTo>
                <a:cubicBezTo>
                  <a:pt x="1595200" y="1333388"/>
                  <a:pt x="1578468" y="1332141"/>
                  <a:pt x="1561445" y="1332141"/>
                </a:cubicBezTo>
                <a:cubicBezTo>
                  <a:pt x="1373145" y="1332141"/>
                  <a:pt x="1220499" y="1484787"/>
                  <a:pt x="1220499" y="1673087"/>
                </a:cubicBezTo>
                <a:cubicBezTo>
                  <a:pt x="1220499" y="1861387"/>
                  <a:pt x="1373145" y="2014033"/>
                  <a:pt x="1561445" y="2014033"/>
                </a:cubicBezTo>
                <a:cubicBezTo>
                  <a:pt x="1749745" y="2014033"/>
                  <a:pt x="1902391" y="1861387"/>
                  <a:pt x="1902391" y="1673087"/>
                </a:cubicBezTo>
                <a:cubicBezTo>
                  <a:pt x="1902391" y="1643675"/>
                  <a:pt x="1898667" y="1615133"/>
                  <a:pt x="1890450" y="1588219"/>
                </a:cubicBezTo>
                <a:lnTo>
                  <a:pt x="2093156" y="1385512"/>
                </a:lnTo>
                <a:cubicBezTo>
                  <a:pt x="2142229" y="1470075"/>
                  <a:pt x="2168674" y="1568493"/>
                  <a:pt x="2168674" y="1673087"/>
                </a:cubicBezTo>
                <a:cubicBezTo>
                  <a:pt x="2168674" y="2008450"/>
                  <a:pt x="1896808" y="2280316"/>
                  <a:pt x="1561445" y="2280316"/>
                </a:cubicBezTo>
                <a:cubicBezTo>
                  <a:pt x="1226082" y="2280316"/>
                  <a:pt x="954217" y="2008450"/>
                  <a:pt x="954217" y="1673087"/>
                </a:cubicBezTo>
                <a:cubicBezTo>
                  <a:pt x="954217" y="1337724"/>
                  <a:pt x="1226082" y="1065858"/>
                  <a:pt x="1561445" y="1065858"/>
                </a:cubicBezTo>
                <a:close/>
                <a:moveTo>
                  <a:pt x="1561445" y="580076"/>
                </a:moveTo>
                <a:cubicBezTo>
                  <a:pt x="1790175" y="580076"/>
                  <a:pt x="2002494" y="650333"/>
                  <a:pt x="2177834" y="770690"/>
                </a:cubicBezTo>
                <a:lnTo>
                  <a:pt x="1968030" y="980494"/>
                </a:lnTo>
                <a:cubicBezTo>
                  <a:pt x="1849962" y="907198"/>
                  <a:pt x="1710422" y="866794"/>
                  <a:pt x="1561445" y="866794"/>
                </a:cubicBezTo>
                <a:cubicBezTo>
                  <a:pt x="1116142" y="866794"/>
                  <a:pt x="755153" y="1227784"/>
                  <a:pt x="755153" y="1673087"/>
                </a:cubicBezTo>
                <a:cubicBezTo>
                  <a:pt x="755153" y="2118390"/>
                  <a:pt x="1116142" y="2479380"/>
                  <a:pt x="1561445" y="2479380"/>
                </a:cubicBezTo>
                <a:cubicBezTo>
                  <a:pt x="2006748" y="2479380"/>
                  <a:pt x="2367738" y="2118390"/>
                  <a:pt x="2367738" y="1673087"/>
                </a:cubicBezTo>
                <a:cubicBezTo>
                  <a:pt x="2367738" y="1513043"/>
                  <a:pt x="2321108" y="1363890"/>
                  <a:pt x="2239307" y="1239362"/>
                </a:cubicBezTo>
                <a:lnTo>
                  <a:pt x="2445928" y="1032741"/>
                </a:lnTo>
                <a:cubicBezTo>
                  <a:pt x="2577451" y="1212149"/>
                  <a:pt x="2654457" y="1433625"/>
                  <a:pt x="2654457" y="1673087"/>
                </a:cubicBezTo>
                <a:cubicBezTo>
                  <a:pt x="2654457" y="2276741"/>
                  <a:pt x="2165099" y="2766099"/>
                  <a:pt x="1561445" y="2766099"/>
                </a:cubicBezTo>
                <a:cubicBezTo>
                  <a:pt x="957792" y="2766099"/>
                  <a:pt x="468434" y="2276741"/>
                  <a:pt x="468434" y="1673087"/>
                </a:cubicBezTo>
                <a:cubicBezTo>
                  <a:pt x="468434" y="1069433"/>
                  <a:pt x="957792" y="580076"/>
                  <a:pt x="1561445" y="580076"/>
                </a:cubicBezTo>
                <a:close/>
                <a:moveTo>
                  <a:pt x="1561445" y="111642"/>
                </a:moveTo>
                <a:cubicBezTo>
                  <a:pt x="1890473" y="111642"/>
                  <a:pt x="2195731" y="213411"/>
                  <a:pt x="2447076" y="387744"/>
                </a:cubicBezTo>
                <a:lnTo>
                  <a:pt x="2453780" y="494744"/>
                </a:lnTo>
                <a:lnTo>
                  <a:pt x="2309436" y="639088"/>
                </a:lnTo>
                <a:cubicBezTo>
                  <a:pt x="2099826" y="485554"/>
                  <a:pt x="1841132" y="395669"/>
                  <a:pt x="1561445" y="395669"/>
                </a:cubicBezTo>
                <a:cubicBezTo>
                  <a:pt x="855947" y="395669"/>
                  <a:pt x="284027" y="967589"/>
                  <a:pt x="284027" y="1673087"/>
                </a:cubicBezTo>
                <a:cubicBezTo>
                  <a:pt x="284027" y="2378585"/>
                  <a:pt x="855947" y="2950505"/>
                  <a:pt x="1561445" y="2950505"/>
                </a:cubicBezTo>
                <a:cubicBezTo>
                  <a:pt x="2266943" y="2950505"/>
                  <a:pt x="2838863" y="2378585"/>
                  <a:pt x="2838863" y="1673087"/>
                </a:cubicBezTo>
                <a:cubicBezTo>
                  <a:pt x="2838863" y="1382650"/>
                  <a:pt x="2741936" y="1114852"/>
                  <a:pt x="2577529" y="901139"/>
                </a:cubicBezTo>
                <a:lnTo>
                  <a:pt x="2706681" y="771988"/>
                </a:lnTo>
                <a:lnTo>
                  <a:pt x="2841540" y="780437"/>
                </a:lnTo>
                <a:cubicBezTo>
                  <a:pt x="3019168" y="1032973"/>
                  <a:pt x="3122890" y="1340917"/>
                  <a:pt x="3122890" y="1673087"/>
                </a:cubicBezTo>
                <a:cubicBezTo>
                  <a:pt x="3122890" y="2535449"/>
                  <a:pt x="2423807" y="3234532"/>
                  <a:pt x="1561445" y="3234532"/>
                </a:cubicBezTo>
                <a:cubicBezTo>
                  <a:pt x="699083" y="3234532"/>
                  <a:pt x="0" y="2535449"/>
                  <a:pt x="0" y="1673087"/>
                </a:cubicBezTo>
                <a:cubicBezTo>
                  <a:pt x="0" y="810725"/>
                  <a:pt x="699083" y="111642"/>
                  <a:pt x="1561445" y="111642"/>
                </a:cubicBezTo>
                <a:close/>
                <a:moveTo>
                  <a:pt x="2909110" y="0"/>
                </a:moveTo>
                <a:lnTo>
                  <a:pt x="2926757" y="281655"/>
                </a:lnTo>
                <a:lnTo>
                  <a:pt x="3208412" y="299301"/>
                </a:lnTo>
                <a:lnTo>
                  <a:pt x="2863230" y="644483"/>
                </a:lnTo>
                <a:lnTo>
                  <a:pt x="2685547" y="633351"/>
                </a:lnTo>
                <a:lnTo>
                  <a:pt x="1718098" y="1600799"/>
                </a:lnTo>
                <a:cubicBezTo>
                  <a:pt x="1729236" y="1622491"/>
                  <a:pt x="1734939" y="1647123"/>
                  <a:pt x="1734939" y="1673087"/>
                </a:cubicBezTo>
                <a:cubicBezTo>
                  <a:pt x="1734939" y="1768905"/>
                  <a:pt x="1657263" y="1846581"/>
                  <a:pt x="1561445" y="1846581"/>
                </a:cubicBezTo>
                <a:cubicBezTo>
                  <a:pt x="1465627" y="1846581"/>
                  <a:pt x="1387951" y="1768905"/>
                  <a:pt x="1387951" y="1673087"/>
                </a:cubicBezTo>
                <a:cubicBezTo>
                  <a:pt x="1387951" y="1577269"/>
                  <a:pt x="1465627" y="1499593"/>
                  <a:pt x="1561445" y="1499593"/>
                </a:cubicBezTo>
                <a:lnTo>
                  <a:pt x="1591006" y="1505561"/>
                </a:lnTo>
                <a:lnTo>
                  <a:pt x="2574981" y="521587"/>
                </a:lnTo>
                <a:lnTo>
                  <a:pt x="2563928" y="345182"/>
                </a:lnTo>
                <a:close/>
              </a:path>
            </a:pathLst>
          </a:custGeom>
          <a:solidFill>
            <a:srgbClr val="010A4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14400"/>
            <a:endParaRPr lang="ko-KR" altLang="en-US" sz="2700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3" name="Rectangle 1">
            <a:extLst>
              <a:ext uri="{FF2B5EF4-FFF2-40B4-BE49-F238E27FC236}">
                <a16:creationId xmlns:a16="http://schemas.microsoft.com/office/drawing/2014/main" id="{EB5A8007-91E7-4F9A-B4FA-D9A9D3244DF5}"/>
              </a:ext>
            </a:extLst>
          </p:cNvPr>
          <p:cNvSpPr>
            <a:spLocks noChangeAspect="1"/>
          </p:cNvSpPr>
          <p:nvPr/>
        </p:nvSpPr>
        <p:spPr>
          <a:xfrm>
            <a:off x="6802079" y="3091839"/>
            <a:ext cx="521482" cy="519549"/>
          </a:xfrm>
          <a:custGeom>
            <a:avLst/>
            <a:gdLst/>
            <a:ahLst/>
            <a:cxnLst/>
            <a:rect l="l" t="t" r="r" b="b"/>
            <a:pathLst>
              <a:path w="3960000" h="3945309">
                <a:moveTo>
                  <a:pt x="466104" y="2636906"/>
                </a:moveTo>
                <a:lnTo>
                  <a:pt x="466104" y="2780922"/>
                </a:lnTo>
                <a:lnTo>
                  <a:pt x="2050104" y="2780922"/>
                </a:lnTo>
                <a:lnTo>
                  <a:pt x="2050104" y="2636906"/>
                </a:lnTo>
                <a:close/>
                <a:moveTo>
                  <a:pt x="466104" y="2407894"/>
                </a:moveTo>
                <a:lnTo>
                  <a:pt x="466104" y="2551910"/>
                </a:lnTo>
                <a:lnTo>
                  <a:pt x="2050104" y="2551910"/>
                </a:lnTo>
                <a:lnTo>
                  <a:pt x="2050104" y="2407894"/>
                </a:lnTo>
                <a:close/>
                <a:moveTo>
                  <a:pt x="466104" y="2178881"/>
                </a:moveTo>
                <a:lnTo>
                  <a:pt x="466104" y="2322897"/>
                </a:lnTo>
                <a:lnTo>
                  <a:pt x="2050104" y="2322897"/>
                </a:lnTo>
                <a:lnTo>
                  <a:pt x="2050104" y="2178881"/>
                </a:lnTo>
                <a:close/>
                <a:moveTo>
                  <a:pt x="3358993" y="2178880"/>
                </a:moveTo>
                <a:cubicBezTo>
                  <a:pt x="3299346" y="2178880"/>
                  <a:pt x="3250993" y="2227233"/>
                  <a:pt x="3250993" y="2286880"/>
                </a:cubicBezTo>
                <a:cubicBezTo>
                  <a:pt x="3250993" y="2346527"/>
                  <a:pt x="3299346" y="2394880"/>
                  <a:pt x="3358993" y="2394880"/>
                </a:cubicBezTo>
                <a:cubicBezTo>
                  <a:pt x="3418640" y="2394880"/>
                  <a:pt x="3466993" y="2346527"/>
                  <a:pt x="3466993" y="2286880"/>
                </a:cubicBezTo>
                <a:cubicBezTo>
                  <a:pt x="3466993" y="2227233"/>
                  <a:pt x="3418640" y="2178880"/>
                  <a:pt x="3358993" y="2178880"/>
                </a:cubicBezTo>
                <a:close/>
                <a:moveTo>
                  <a:pt x="2962949" y="2178880"/>
                </a:moveTo>
                <a:cubicBezTo>
                  <a:pt x="2903302" y="2178880"/>
                  <a:pt x="2854949" y="2227233"/>
                  <a:pt x="2854949" y="2286880"/>
                </a:cubicBezTo>
                <a:cubicBezTo>
                  <a:pt x="2854949" y="2346527"/>
                  <a:pt x="2903302" y="2394880"/>
                  <a:pt x="2962949" y="2394880"/>
                </a:cubicBezTo>
                <a:cubicBezTo>
                  <a:pt x="3022596" y="2394880"/>
                  <a:pt x="3070949" y="2346527"/>
                  <a:pt x="3070949" y="2286880"/>
                </a:cubicBezTo>
                <a:cubicBezTo>
                  <a:pt x="3070949" y="2227233"/>
                  <a:pt x="3022596" y="2178880"/>
                  <a:pt x="2962949" y="2178880"/>
                </a:cubicBezTo>
                <a:close/>
                <a:moveTo>
                  <a:pt x="2566905" y="2178880"/>
                </a:moveTo>
                <a:cubicBezTo>
                  <a:pt x="2507258" y="2178880"/>
                  <a:pt x="2458905" y="2227233"/>
                  <a:pt x="2458905" y="2286880"/>
                </a:cubicBezTo>
                <a:cubicBezTo>
                  <a:pt x="2458905" y="2346527"/>
                  <a:pt x="2507258" y="2394880"/>
                  <a:pt x="2566905" y="2394880"/>
                </a:cubicBezTo>
                <a:cubicBezTo>
                  <a:pt x="2626552" y="2394880"/>
                  <a:pt x="2674905" y="2346527"/>
                  <a:pt x="2674905" y="2286880"/>
                </a:cubicBezTo>
                <a:cubicBezTo>
                  <a:pt x="2674905" y="2227233"/>
                  <a:pt x="2626552" y="2178880"/>
                  <a:pt x="2566905" y="2178880"/>
                </a:cubicBezTo>
                <a:close/>
                <a:moveTo>
                  <a:pt x="154649" y="2155901"/>
                </a:moveTo>
                <a:lnTo>
                  <a:pt x="154649" y="2803901"/>
                </a:lnTo>
                <a:lnTo>
                  <a:pt x="298665" y="2803901"/>
                </a:lnTo>
                <a:lnTo>
                  <a:pt x="298665" y="2155901"/>
                </a:lnTo>
                <a:close/>
                <a:moveTo>
                  <a:pt x="3645310" y="2153519"/>
                </a:moveTo>
                <a:lnTo>
                  <a:pt x="3645310" y="2801519"/>
                </a:lnTo>
                <a:lnTo>
                  <a:pt x="3789326" y="2801519"/>
                </a:lnTo>
                <a:lnTo>
                  <a:pt x="3789326" y="2153519"/>
                </a:lnTo>
                <a:close/>
                <a:moveTo>
                  <a:pt x="0" y="2032992"/>
                </a:moveTo>
                <a:lnTo>
                  <a:pt x="3960000" y="2032992"/>
                </a:lnTo>
                <a:lnTo>
                  <a:pt x="3960000" y="2897088"/>
                </a:lnTo>
                <a:lnTo>
                  <a:pt x="2124016" y="2897088"/>
                </a:lnTo>
                <a:lnTo>
                  <a:pt x="2124016" y="3513261"/>
                </a:lnTo>
                <a:lnTo>
                  <a:pt x="2268032" y="3513261"/>
                </a:lnTo>
                <a:cubicBezTo>
                  <a:pt x="2331437" y="3513261"/>
                  <a:pt x="2388462" y="3540577"/>
                  <a:pt x="2426674" y="3585269"/>
                </a:cubicBezTo>
                <a:lnTo>
                  <a:pt x="3960000" y="3585269"/>
                </a:lnTo>
                <a:lnTo>
                  <a:pt x="3960000" y="3873301"/>
                </a:lnTo>
                <a:lnTo>
                  <a:pt x="2426674" y="3873301"/>
                </a:lnTo>
                <a:cubicBezTo>
                  <a:pt x="2388462" y="3917993"/>
                  <a:pt x="2331437" y="3945309"/>
                  <a:pt x="2268032" y="3945309"/>
                </a:cubicBezTo>
                <a:lnTo>
                  <a:pt x="1691968" y="3945309"/>
                </a:lnTo>
                <a:cubicBezTo>
                  <a:pt x="1628563" y="3945309"/>
                  <a:pt x="1571538" y="3917993"/>
                  <a:pt x="1533326" y="3873301"/>
                </a:cubicBezTo>
                <a:lnTo>
                  <a:pt x="0" y="3873301"/>
                </a:lnTo>
                <a:lnTo>
                  <a:pt x="0" y="3585269"/>
                </a:lnTo>
                <a:lnTo>
                  <a:pt x="1533326" y="3585269"/>
                </a:lnTo>
                <a:cubicBezTo>
                  <a:pt x="1571538" y="3540577"/>
                  <a:pt x="1628563" y="3513261"/>
                  <a:pt x="1691968" y="3513261"/>
                </a:cubicBezTo>
                <a:lnTo>
                  <a:pt x="1835984" y="3513261"/>
                </a:lnTo>
                <a:lnTo>
                  <a:pt x="1835984" y="2897088"/>
                </a:lnTo>
                <a:lnTo>
                  <a:pt x="0" y="2897088"/>
                </a:lnTo>
                <a:close/>
                <a:moveTo>
                  <a:pt x="466104" y="1620410"/>
                </a:moveTo>
                <a:lnTo>
                  <a:pt x="466104" y="1764426"/>
                </a:lnTo>
                <a:lnTo>
                  <a:pt x="2050104" y="1764426"/>
                </a:lnTo>
                <a:lnTo>
                  <a:pt x="2050104" y="1620410"/>
                </a:lnTo>
                <a:close/>
                <a:moveTo>
                  <a:pt x="466104" y="1391398"/>
                </a:moveTo>
                <a:lnTo>
                  <a:pt x="466104" y="1535414"/>
                </a:lnTo>
                <a:lnTo>
                  <a:pt x="2050104" y="1535414"/>
                </a:lnTo>
                <a:lnTo>
                  <a:pt x="2050104" y="1391398"/>
                </a:lnTo>
                <a:close/>
                <a:moveTo>
                  <a:pt x="466104" y="1162385"/>
                </a:moveTo>
                <a:lnTo>
                  <a:pt x="466104" y="1306401"/>
                </a:lnTo>
                <a:lnTo>
                  <a:pt x="2050104" y="1306401"/>
                </a:lnTo>
                <a:lnTo>
                  <a:pt x="2050104" y="1162385"/>
                </a:lnTo>
                <a:close/>
                <a:moveTo>
                  <a:pt x="3358993" y="1162384"/>
                </a:moveTo>
                <a:cubicBezTo>
                  <a:pt x="3299346" y="1162384"/>
                  <a:pt x="3250993" y="1210737"/>
                  <a:pt x="3250993" y="1270384"/>
                </a:cubicBezTo>
                <a:cubicBezTo>
                  <a:pt x="3250993" y="1330031"/>
                  <a:pt x="3299346" y="1378384"/>
                  <a:pt x="3358993" y="1378384"/>
                </a:cubicBezTo>
                <a:cubicBezTo>
                  <a:pt x="3418640" y="1378384"/>
                  <a:pt x="3466993" y="1330031"/>
                  <a:pt x="3466993" y="1270384"/>
                </a:cubicBezTo>
                <a:cubicBezTo>
                  <a:pt x="3466993" y="1210737"/>
                  <a:pt x="3418640" y="1162384"/>
                  <a:pt x="3358993" y="1162384"/>
                </a:cubicBezTo>
                <a:close/>
                <a:moveTo>
                  <a:pt x="2962949" y="1162384"/>
                </a:moveTo>
                <a:cubicBezTo>
                  <a:pt x="2903302" y="1162384"/>
                  <a:pt x="2854949" y="1210737"/>
                  <a:pt x="2854949" y="1270384"/>
                </a:cubicBezTo>
                <a:cubicBezTo>
                  <a:pt x="2854949" y="1330031"/>
                  <a:pt x="2903302" y="1378384"/>
                  <a:pt x="2962949" y="1378384"/>
                </a:cubicBezTo>
                <a:cubicBezTo>
                  <a:pt x="3022596" y="1378384"/>
                  <a:pt x="3070949" y="1330031"/>
                  <a:pt x="3070949" y="1270384"/>
                </a:cubicBezTo>
                <a:cubicBezTo>
                  <a:pt x="3070949" y="1210737"/>
                  <a:pt x="3022596" y="1162384"/>
                  <a:pt x="2962949" y="1162384"/>
                </a:cubicBezTo>
                <a:close/>
                <a:moveTo>
                  <a:pt x="2566905" y="1162384"/>
                </a:moveTo>
                <a:cubicBezTo>
                  <a:pt x="2507258" y="1162384"/>
                  <a:pt x="2458905" y="1210737"/>
                  <a:pt x="2458905" y="1270384"/>
                </a:cubicBezTo>
                <a:cubicBezTo>
                  <a:pt x="2458905" y="1330031"/>
                  <a:pt x="2507258" y="1378384"/>
                  <a:pt x="2566905" y="1378384"/>
                </a:cubicBezTo>
                <a:cubicBezTo>
                  <a:pt x="2626552" y="1378384"/>
                  <a:pt x="2674905" y="1330031"/>
                  <a:pt x="2674905" y="1270384"/>
                </a:cubicBezTo>
                <a:cubicBezTo>
                  <a:pt x="2674905" y="1210737"/>
                  <a:pt x="2626552" y="1162384"/>
                  <a:pt x="2566905" y="1162384"/>
                </a:cubicBezTo>
                <a:close/>
                <a:moveTo>
                  <a:pt x="154649" y="1139405"/>
                </a:moveTo>
                <a:lnTo>
                  <a:pt x="154649" y="1787405"/>
                </a:lnTo>
                <a:lnTo>
                  <a:pt x="298665" y="1787405"/>
                </a:lnTo>
                <a:lnTo>
                  <a:pt x="298665" y="1139405"/>
                </a:lnTo>
                <a:close/>
                <a:moveTo>
                  <a:pt x="3645310" y="1137023"/>
                </a:moveTo>
                <a:lnTo>
                  <a:pt x="3645310" y="1785023"/>
                </a:lnTo>
                <a:lnTo>
                  <a:pt x="3789326" y="1785023"/>
                </a:lnTo>
                <a:lnTo>
                  <a:pt x="3789326" y="1137023"/>
                </a:lnTo>
                <a:close/>
                <a:moveTo>
                  <a:pt x="0" y="1016496"/>
                </a:moveTo>
                <a:lnTo>
                  <a:pt x="3960000" y="1016496"/>
                </a:lnTo>
                <a:lnTo>
                  <a:pt x="3960000" y="1880592"/>
                </a:lnTo>
                <a:lnTo>
                  <a:pt x="0" y="1880592"/>
                </a:lnTo>
                <a:close/>
                <a:moveTo>
                  <a:pt x="466104" y="603914"/>
                </a:moveTo>
                <a:lnTo>
                  <a:pt x="466104" y="747930"/>
                </a:lnTo>
                <a:lnTo>
                  <a:pt x="2050104" y="747930"/>
                </a:lnTo>
                <a:lnTo>
                  <a:pt x="2050104" y="603914"/>
                </a:lnTo>
                <a:close/>
                <a:moveTo>
                  <a:pt x="466104" y="374902"/>
                </a:moveTo>
                <a:lnTo>
                  <a:pt x="466104" y="518918"/>
                </a:lnTo>
                <a:lnTo>
                  <a:pt x="2050104" y="518918"/>
                </a:lnTo>
                <a:lnTo>
                  <a:pt x="2050104" y="374902"/>
                </a:lnTo>
                <a:close/>
                <a:moveTo>
                  <a:pt x="466104" y="145889"/>
                </a:moveTo>
                <a:lnTo>
                  <a:pt x="466104" y="289905"/>
                </a:lnTo>
                <a:lnTo>
                  <a:pt x="2050104" y="289905"/>
                </a:lnTo>
                <a:lnTo>
                  <a:pt x="2050104" y="145889"/>
                </a:lnTo>
                <a:close/>
                <a:moveTo>
                  <a:pt x="3358993" y="145888"/>
                </a:moveTo>
                <a:cubicBezTo>
                  <a:pt x="3299346" y="145888"/>
                  <a:pt x="3250993" y="194241"/>
                  <a:pt x="3250993" y="253888"/>
                </a:cubicBezTo>
                <a:cubicBezTo>
                  <a:pt x="3250993" y="313535"/>
                  <a:pt x="3299346" y="361888"/>
                  <a:pt x="3358993" y="361888"/>
                </a:cubicBezTo>
                <a:cubicBezTo>
                  <a:pt x="3418640" y="361888"/>
                  <a:pt x="3466993" y="313535"/>
                  <a:pt x="3466993" y="253888"/>
                </a:cubicBezTo>
                <a:cubicBezTo>
                  <a:pt x="3466993" y="194241"/>
                  <a:pt x="3418640" y="145888"/>
                  <a:pt x="3358993" y="145888"/>
                </a:cubicBezTo>
                <a:close/>
                <a:moveTo>
                  <a:pt x="2962949" y="145888"/>
                </a:moveTo>
                <a:cubicBezTo>
                  <a:pt x="2903302" y="145888"/>
                  <a:pt x="2854949" y="194241"/>
                  <a:pt x="2854949" y="253888"/>
                </a:cubicBezTo>
                <a:cubicBezTo>
                  <a:pt x="2854949" y="313535"/>
                  <a:pt x="2903302" y="361888"/>
                  <a:pt x="2962949" y="361888"/>
                </a:cubicBezTo>
                <a:cubicBezTo>
                  <a:pt x="3022596" y="361888"/>
                  <a:pt x="3070949" y="313535"/>
                  <a:pt x="3070949" y="253888"/>
                </a:cubicBezTo>
                <a:cubicBezTo>
                  <a:pt x="3070949" y="194241"/>
                  <a:pt x="3022596" y="145888"/>
                  <a:pt x="2962949" y="145888"/>
                </a:cubicBezTo>
                <a:close/>
                <a:moveTo>
                  <a:pt x="2566905" y="145888"/>
                </a:moveTo>
                <a:cubicBezTo>
                  <a:pt x="2507258" y="145888"/>
                  <a:pt x="2458905" y="194241"/>
                  <a:pt x="2458905" y="253888"/>
                </a:cubicBezTo>
                <a:cubicBezTo>
                  <a:pt x="2458905" y="313535"/>
                  <a:pt x="2507258" y="361888"/>
                  <a:pt x="2566905" y="361888"/>
                </a:cubicBezTo>
                <a:cubicBezTo>
                  <a:pt x="2626552" y="361888"/>
                  <a:pt x="2674905" y="313535"/>
                  <a:pt x="2674905" y="253888"/>
                </a:cubicBezTo>
                <a:cubicBezTo>
                  <a:pt x="2674905" y="194241"/>
                  <a:pt x="2626552" y="145888"/>
                  <a:pt x="2566905" y="145888"/>
                </a:cubicBezTo>
                <a:close/>
                <a:moveTo>
                  <a:pt x="154649" y="122909"/>
                </a:moveTo>
                <a:lnTo>
                  <a:pt x="154649" y="770909"/>
                </a:lnTo>
                <a:lnTo>
                  <a:pt x="298665" y="770909"/>
                </a:lnTo>
                <a:lnTo>
                  <a:pt x="298665" y="122909"/>
                </a:lnTo>
                <a:close/>
                <a:moveTo>
                  <a:pt x="3645310" y="120527"/>
                </a:moveTo>
                <a:lnTo>
                  <a:pt x="3645310" y="768527"/>
                </a:lnTo>
                <a:lnTo>
                  <a:pt x="3789326" y="768527"/>
                </a:lnTo>
                <a:lnTo>
                  <a:pt x="3789326" y="120527"/>
                </a:lnTo>
                <a:close/>
                <a:moveTo>
                  <a:pt x="0" y="0"/>
                </a:moveTo>
                <a:lnTo>
                  <a:pt x="3960000" y="0"/>
                </a:lnTo>
                <a:lnTo>
                  <a:pt x="3960000" y="864096"/>
                </a:lnTo>
                <a:lnTo>
                  <a:pt x="0" y="864096"/>
                </a:lnTo>
                <a:close/>
              </a:path>
            </a:pathLst>
          </a:custGeom>
          <a:solidFill>
            <a:schemeClr val="accent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id="{B4445FDC-9033-4554-9E13-8295124E9B7E}"/>
              </a:ext>
            </a:extLst>
          </p:cNvPr>
          <p:cNvSpPr txBox="1"/>
          <p:nvPr/>
        </p:nvSpPr>
        <p:spPr>
          <a:xfrm>
            <a:off x="23239" y="174773"/>
            <a:ext cx="8097503" cy="5587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 algn="just">
              <a:lnSpc>
                <a:spcPct val="115000"/>
              </a:lnSpc>
              <a:spcBef>
                <a:spcPts val="1000"/>
              </a:spcBef>
              <a:spcAft>
                <a:spcPts val="1000"/>
              </a:spcAft>
            </a:pPr>
            <a:r>
              <a:rPr lang="fr-BE" sz="2800" b="1" dirty="0">
                <a:solidFill>
                  <a:schemeClr val="bg1"/>
                </a:solidFill>
                <a:ea typeface="+mj-ea"/>
                <a:cs typeface="+mj-cs"/>
              </a:rPr>
              <a:t>Processus de la cartographie des ressources </a:t>
            </a:r>
            <a:endParaRPr lang="fr-FR" sz="2800" b="1" dirty="0">
              <a:solidFill>
                <a:schemeClr val="bg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0333202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FEA5875E-AF95-4BE9-B1ED-DE026D9AF04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46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73C75D1-FCE0-4B88-A964-A16D6E52C78D}"/>
              </a:ext>
            </a:extLst>
          </p:cNvPr>
          <p:cNvSpPr/>
          <p:nvPr/>
        </p:nvSpPr>
        <p:spPr>
          <a:xfrm>
            <a:off x="842264" y="2226358"/>
            <a:ext cx="5538091" cy="96906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1F622CC-D12A-4A84-AE67-56C8BD8117FE}"/>
              </a:ext>
            </a:extLst>
          </p:cNvPr>
          <p:cNvSpPr/>
          <p:nvPr/>
        </p:nvSpPr>
        <p:spPr>
          <a:xfrm>
            <a:off x="842264" y="3188643"/>
            <a:ext cx="5538091" cy="969069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754222-1AEE-45B8-A1A5-F8E767C55357}"/>
              </a:ext>
            </a:extLst>
          </p:cNvPr>
          <p:cNvSpPr/>
          <p:nvPr/>
        </p:nvSpPr>
        <p:spPr>
          <a:xfrm>
            <a:off x="842264" y="4152430"/>
            <a:ext cx="5538091" cy="96906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469EF2E-C393-440F-BB99-7B7852E10301}"/>
              </a:ext>
            </a:extLst>
          </p:cNvPr>
          <p:cNvSpPr/>
          <p:nvPr/>
        </p:nvSpPr>
        <p:spPr>
          <a:xfrm>
            <a:off x="842264" y="1264072"/>
            <a:ext cx="5538091" cy="96906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 useBgFill="1">
        <p:nvSpPr>
          <p:cNvPr id="20" name="Freeform 35">
            <a:extLst>
              <a:ext uri="{FF2B5EF4-FFF2-40B4-BE49-F238E27FC236}">
                <a16:creationId xmlns:a16="http://schemas.microsoft.com/office/drawing/2014/main" id="{3507006D-8EA1-4AA5-A8E9-D94F0EF32CB9}"/>
              </a:ext>
            </a:extLst>
          </p:cNvPr>
          <p:cNvSpPr>
            <a:spLocks/>
          </p:cNvSpPr>
          <p:nvPr/>
        </p:nvSpPr>
        <p:spPr bwMode="white">
          <a:xfrm>
            <a:off x="-435360" y="1206489"/>
            <a:ext cx="3357020" cy="9098193"/>
          </a:xfrm>
          <a:custGeom>
            <a:avLst/>
            <a:gdLst>
              <a:gd name="T0" fmla="*/ 901 w 1398"/>
              <a:gd name="T1" fmla="*/ 142 h 4117"/>
              <a:gd name="T2" fmla="*/ 627 w 1398"/>
              <a:gd name="T3" fmla="*/ 341 h 4117"/>
              <a:gd name="T4" fmla="*/ 477 w 1398"/>
              <a:gd name="T5" fmla="*/ 611 h 4117"/>
              <a:gd name="T6" fmla="*/ 477 w 1398"/>
              <a:gd name="T7" fmla="*/ 950 h 4117"/>
              <a:gd name="T8" fmla="*/ 608 w 1398"/>
              <a:gd name="T9" fmla="*/ 1279 h 4117"/>
              <a:gd name="T10" fmla="*/ 690 w 1398"/>
              <a:gd name="T11" fmla="*/ 1853 h 4117"/>
              <a:gd name="T12" fmla="*/ 1176 w 1398"/>
              <a:gd name="T13" fmla="*/ 1888 h 4117"/>
              <a:gd name="T14" fmla="*/ 1398 w 1398"/>
              <a:gd name="T15" fmla="*/ 2588 h 4117"/>
              <a:gd name="T16" fmla="*/ 1042 w 1398"/>
              <a:gd name="T17" fmla="*/ 3142 h 4117"/>
              <a:gd name="T18" fmla="*/ 901 w 1398"/>
              <a:gd name="T19" fmla="*/ 3441 h 4117"/>
              <a:gd name="T20" fmla="*/ 690 w 1398"/>
              <a:gd name="T21" fmla="*/ 4117 h 4117"/>
              <a:gd name="T22" fmla="*/ 0 w 1398"/>
              <a:gd name="T23" fmla="*/ 4117 h 4117"/>
              <a:gd name="T24" fmla="*/ 0 w 1398"/>
              <a:gd name="T25" fmla="*/ 0 h 4117"/>
              <a:gd name="T26" fmla="*/ 699 w 1398"/>
              <a:gd name="T27" fmla="*/ 0 h 4117"/>
              <a:gd name="T28" fmla="*/ 901 w 1398"/>
              <a:gd name="T29" fmla="*/ 142 h 4117"/>
              <a:gd name="connsiteX0" fmla="*/ 6445 w 10000"/>
              <a:gd name="connsiteY0" fmla="*/ 412 h 10067"/>
              <a:gd name="connsiteX1" fmla="*/ 4485 w 10000"/>
              <a:gd name="connsiteY1" fmla="*/ 895 h 10067"/>
              <a:gd name="connsiteX2" fmla="*/ 3412 w 10000"/>
              <a:gd name="connsiteY2" fmla="*/ 1551 h 10067"/>
              <a:gd name="connsiteX3" fmla="*/ 3412 w 10000"/>
              <a:gd name="connsiteY3" fmla="*/ 2375 h 10067"/>
              <a:gd name="connsiteX4" fmla="*/ 434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0 w 10000"/>
              <a:gd name="connsiteY12" fmla="*/ 67 h 10067"/>
              <a:gd name="connsiteX13" fmla="*/ 5315 w 10000"/>
              <a:gd name="connsiteY13" fmla="*/ 0 h 10067"/>
              <a:gd name="connsiteX14" fmla="*/ 6445 w 10000"/>
              <a:gd name="connsiteY14" fmla="*/ 412 h 10067"/>
              <a:gd name="connsiteX0" fmla="*/ 6445 w 10000"/>
              <a:gd name="connsiteY0" fmla="*/ 412 h 10067"/>
              <a:gd name="connsiteX1" fmla="*/ 4485 w 10000"/>
              <a:gd name="connsiteY1" fmla="*/ 895 h 10067"/>
              <a:gd name="connsiteX2" fmla="*/ 3412 w 10000"/>
              <a:gd name="connsiteY2" fmla="*/ 1551 h 10067"/>
              <a:gd name="connsiteX3" fmla="*/ 3412 w 10000"/>
              <a:gd name="connsiteY3" fmla="*/ 2375 h 10067"/>
              <a:gd name="connsiteX4" fmla="*/ 434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39 w 10000"/>
              <a:gd name="connsiteY12" fmla="*/ 0 h 10067"/>
              <a:gd name="connsiteX13" fmla="*/ 5315 w 10000"/>
              <a:gd name="connsiteY13" fmla="*/ 0 h 10067"/>
              <a:gd name="connsiteX14" fmla="*/ 6445 w 10000"/>
              <a:gd name="connsiteY14" fmla="*/ 412 h 10067"/>
              <a:gd name="connsiteX0" fmla="*/ 9519 w 10000"/>
              <a:gd name="connsiteY0" fmla="*/ 11 h 10067"/>
              <a:gd name="connsiteX1" fmla="*/ 4485 w 10000"/>
              <a:gd name="connsiteY1" fmla="*/ 895 h 10067"/>
              <a:gd name="connsiteX2" fmla="*/ 3412 w 10000"/>
              <a:gd name="connsiteY2" fmla="*/ 1551 h 10067"/>
              <a:gd name="connsiteX3" fmla="*/ 3412 w 10000"/>
              <a:gd name="connsiteY3" fmla="*/ 2375 h 10067"/>
              <a:gd name="connsiteX4" fmla="*/ 434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39 w 10000"/>
              <a:gd name="connsiteY12" fmla="*/ 0 h 10067"/>
              <a:gd name="connsiteX13" fmla="*/ 5315 w 10000"/>
              <a:gd name="connsiteY13" fmla="*/ 0 h 10067"/>
              <a:gd name="connsiteX14" fmla="*/ 9519 w 10000"/>
              <a:gd name="connsiteY14" fmla="*/ 11 h 10067"/>
              <a:gd name="connsiteX0" fmla="*/ 9519 w 10000"/>
              <a:gd name="connsiteY0" fmla="*/ 11 h 10067"/>
              <a:gd name="connsiteX1" fmla="*/ 4485 w 10000"/>
              <a:gd name="connsiteY1" fmla="*/ 895 h 10067"/>
              <a:gd name="connsiteX2" fmla="*/ 3412 w 10000"/>
              <a:gd name="connsiteY2" fmla="*/ 1551 h 10067"/>
              <a:gd name="connsiteX3" fmla="*/ 3412 w 10000"/>
              <a:gd name="connsiteY3" fmla="*/ 2375 h 10067"/>
              <a:gd name="connsiteX4" fmla="*/ 434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39 w 10000"/>
              <a:gd name="connsiteY12" fmla="*/ 0 h 10067"/>
              <a:gd name="connsiteX13" fmla="*/ 5315 w 10000"/>
              <a:gd name="connsiteY13" fmla="*/ 0 h 10067"/>
              <a:gd name="connsiteX14" fmla="*/ 9519 w 10000"/>
              <a:gd name="connsiteY14" fmla="*/ 11 h 10067"/>
              <a:gd name="connsiteX0" fmla="*/ 9519 w 10000"/>
              <a:gd name="connsiteY0" fmla="*/ 11 h 10067"/>
              <a:gd name="connsiteX1" fmla="*/ 4485 w 10000"/>
              <a:gd name="connsiteY1" fmla="*/ 895 h 10067"/>
              <a:gd name="connsiteX2" fmla="*/ 3412 w 10000"/>
              <a:gd name="connsiteY2" fmla="*/ 1551 h 10067"/>
              <a:gd name="connsiteX3" fmla="*/ 4438 w 10000"/>
              <a:gd name="connsiteY3" fmla="*/ 2346 h 10067"/>
              <a:gd name="connsiteX4" fmla="*/ 434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39 w 10000"/>
              <a:gd name="connsiteY12" fmla="*/ 0 h 10067"/>
              <a:gd name="connsiteX13" fmla="*/ 5315 w 10000"/>
              <a:gd name="connsiteY13" fmla="*/ 0 h 10067"/>
              <a:gd name="connsiteX14" fmla="*/ 9519 w 10000"/>
              <a:gd name="connsiteY14" fmla="*/ 11 h 10067"/>
              <a:gd name="connsiteX0" fmla="*/ 9519 w 10000"/>
              <a:gd name="connsiteY0" fmla="*/ 11 h 10067"/>
              <a:gd name="connsiteX1" fmla="*/ 4485 w 10000"/>
              <a:gd name="connsiteY1" fmla="*/ 895 h 10067"/>
              <a:gd name="connsiteX2" fmla="*/ 4123 w 10000"/>
              <a:gd name="connsiteY2" fmla="*/ 1573 h 10067"/>
              <a:gd name="connsiteX3" fmla="*/ 4438 w 10000"/>
              <a:gd name="connsiteY3" fmla="*/ 2346 h 10067"/>
              <a:gd name="connsiteX4" fmla="*/ 434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39 w 10000"/>
              <a:gd name="connsiteY12" fmla="*/ 0 h 10067"/>
              <a:gd name="connsiteX13" fmla="*/ 5315 w 10000"/>
              <a:gd name="connsiteY13" fmla="*/ 0 h 10067"/>
              <a:gd name="connsiteX14" fmla="*/ 9519 w 10000"/>
              <a:gd name="connsiteY14" fmla="*/ 11 h 10067"/>
              <a:gd name="connsiteX0" fmla="*/ 9519 w 10000"/>
              <a:gd name="connsiteY0" fmla="*/ 11 h 10067"/>
              <a:gd name="connsiteX1" fmla="*/ 5294 w 10000"/>
              <a:gd name="connsiteY1" fmla="*/ 763 h 10067"/>
              <a:gd name="connsiteX2" fmla="*/ 4123 w 10000"/>
              <a:gd name="connsiteY2" fmla="*/ 1573 h 10067"/>
              <a:gd name="connsiteX3" fmla="*/ 4438 w 10000"/>
              <a:gd name="connsiteY3" fmla="*/ 2346 h 10067"/>
              <a:gd name="connsiteX4" fmla="*/ 434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39 w 10000"/>
              <a:gd name="connsiteY12" fmla="*/ 0 h 10067"/>
              <a:gd name="connsiteX13" fmla="*/ 5315 w 10000"/>
              <a:gd name="connsiteY13" fmla="*/ 0 h 10067"/>
              <a:gd name="connsiteX14" fmla="*/ 9519 w 10000"/>
              <a:gd name="connsiteY14" fmla="*/ 11 h 10067"/>
              <a:gd name="connsiteX0" fmla="*/ 9519 w 10000"/>
              <a:gd name="connsiteY0" fmla="*/ 11 h 10067"/>
              <a:gd name="connsiteX1" fmla="*/ 5294 w 10000"/>
              <a:gd name="connsiteY1" fmla="*/ 763 h 10067"/>
              <a:gd name="connsiteX2" fmla="*/ 4123 w 10000"/>
              <a:gd name="connsiteY2" fmla="*/ 1573 h 10067"/>
              <a:gd name="connsiteX3" fmla="*/ 4438 w 10000"/>
              <a:gd name="connsiteY3" fmla="*/ 2346 h 10067"/>
              <a:gd name="connsiteX4" fmla="*/ 5079 w 10000"/>
              <a:gd name="connsiteY4" fmla="*/ 3174 h 10067"/>
              <a:gd name="connsiteX5" fmla="*/ 4936 w 10000"/>
              <a:gd name="connsiteY5" fmla="*/ 4568 h 10067"/>
              <a:gd name="connsiteX6" fmla="*/ 8412 w 10000"/>
              <a:gd name="connsiteY6" fmla="*/ 4653 h 10067"/>
              <a:gd name="connsiteX7" fmla="*/ 10000 w 10000"/>
              <a:gd name="connsiteY7" fmla="*/ 6353 h 10067"/>
              <a:gd name="connsiteX8" fmla="*/ 7454 w 10000"/>
              <a:gd name="connsiteY8" fmla="*/ 7699 h 10067"/>
              <a:gd name="connsiteX9" fmla="*/ 6445 w 10000"/>
              <a:gd name="connsiteY9" fmla="*/ 8425 h 10067"/>
              <a:gd name="connsiteX10" fmla="*/ 4936 w 10000"/>
              <a:gd name="connsiteY10" fmla="*/ 10067 h 10067"/>
              <a:gd name="connsiteX11" fmla="*/ 0 w 10000"/>
              <a:gd name="connsiteY11" fmla="*/ 10067 h 10067"/>
              <a:gd name="connsiteX12" fmla="*/ 39 w 10000"/>
              <a:gd name="connsiteY12" fmla="*/ 0 h 10067"/>
              <a:gd name="connsiteX13" fmla="*/ 5315 w 10000"/>
              <a:gd name="connsiteY13" fmla="*/ 0 h 10067"/>
              <a:gd name="connsiteX14" fmla="*/ 9519 w 10000"/>
              <a:gd name="connsiteY14" fmla="*/ 11 h 10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000" h="10067">
                <a:moveTo>
                  <a:pt x="9519" y="11"/>
                </a:moveTo>
                <a:cubicBezTo>
                  <a:pt x="6737" y="306"/>
                  <a:pt x="6972" y="468"/>
                  <a:pt x="5294" y="763"/>
                </a:cubicBezTo>
                <a:lnTo>
                  <a:pt x="4123" y="1573"/>
                </a:lnTo>
                <a:lnTo>
                  <a:pt x="4438" y="2346"/>
                </a:lnTo>
                <a:cubicBezTo>
                  <a:pt x="4408" y="2622"/>
                  <a:pt x="5109" y="2898"/>
                  <a:pt x="5079" y="3174"/>
                </a:cubicBezTo>
                <a:cubicBezTo>
                  <a:pt x="5031" y="3639"/>
                  <a:pt x="4984" y="4103"/>
                  <a:pt x="4936" y="4568"/>
                </a:cubicBezTo>
                <a:lnTo>
                  <a:pt x="8412" y="4653"/>
                </a:lnTo>
                <a:lnTo>
                  <a:pt x="10000" y="6353"/>
                </a:lnTo>
                <a:lnTo>
                  <a:pt x="7454" y="7699"/>
                </a:lnTo>
                <a:lnTo>
                  <a:pt x="6445" y="8425"/>
                </a:lnTo>
                <a:lnTo>
                  <a:pt x="4936" y="10067"/>
                </a:lnTo>
                <a:lnTo>
                  <a:pt x="0" y="10067"/>
                </a:lnTo>
                <a:cubicBezTo>
                  <a:pt x="13" y="6711"/>
                  <a:pt x="26" y="3356"/>
                  <a:pt x="39" y="0"/>
                </a:cubicBezTo>
                <a:lnTo>
                  <a:pt x="5315" y="0"/>
                </a:lnTo>
                <a:lnTo>
                  <a:pt x="9519" y="1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solidFill>
                <a:srgbClr val="373737"/>
              </a:solidFill>
              <a:latin typeface="Gotham Light"/>
              <a:cs typeface="Gotham Light"/>
            </a:endParaRPr>
          </a:p>
        </p:txBody>
      </p:sp>
      <p:sp>
        <p:nvSpPr>
          <p:cNvPr id="6" name="Freeform 51">
            <a:extLst>
              <a:ext uri="{FF2B5EF4-FFF2-40B4-BE49-F238E27FC236}">
                <a16:creationId xmlns:a16="http://schemas.microsoft.com/office/drawing/2014/main" id="{35160EED-B942-42CC-84CE-96CA9C31B6C4}"/>
              </a:ext>
            </a:extLst>
          </p:cNvPr>
          <p:cNvSpPr/>
          <p:nvPr/>
        </p:nvSpPr>
        <p:spPr>
          <a:xfrm rot="16200000">
            <a:off x="6023906" y="1608506"/>
            <a:ext cx="1322845" cy="633980"/>
          </a:xfrm>
          <a:custGeom>
            <a:avLst/>
            <a:gdLst>
              <a:gd name="connsiteX0" fmla="*/ 992134 w 992134"/>
              <a:gd name="connsiteY0" fmla="*/ 1 h 475485"/>
              <a:gd name="connsiteX1" fmla="*/ 992134 w 992134"/>
              <a:gd name="connsiteY1" fmla="*/ 475485 h 475485"/>
              <a:gd name="connsiteX2" fmla="*/ 306334 w 992134"/>
              <a:gd name="connsiteY2" fmla="*/ 475485 h 475485"/>
              <a:gd name="connsiteX3" fmla="*/ 306334 w 992134"/>
              <a:gd name="connsiteY3" fmla="*/ 475484 h 475485"/>
              <a:gd name="connsiteX4" fmla="*/ 0 w 992134"/>
              <a:gd name="connsiteY4" fmla="*/ 475484 h 475485"/>
              <a:gd name="connsiteX5" fmla="*/ 253885 w 992134"/>
              <a:gd name="connsiteY5" fmla="*/ 0 h 475485"/>
              <a:gd name="connsiteX6" fmla="*/ 685800 w 992134"/>
              <a:gd name="connsiteY6" fmla="*/ 0 h 475485"/>
              <a:gd name="connsiteX7" fmla="*/ 685800 w 992134"/>
              <a:gd name="connsiteY7" fmla="*/ 1 h 475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2134" h="475485">
                <a:moveTo>
                  <a:pt x="992134" y="1"/>
                </a:moveTo>
                <a:lnTo>
                  <a:pt x="992134" y="475485"/>
                </a:lnTo>
                <a:lnTo>
                  <a:pt x="306334" y="475485"/>
                </a:lnTo>
                <a:lnTo>
                  <a:pt x="306334" y="475484"/>
                </a:lnTo>
                <a:lnTo>
                  <a:pt x="0" y="475484"/>
                </a:lnTo>
                <a:lnTo>
                  <a:pt x="253885" y="0"/>
                </a:lnTo>
                <a:lnTo>
                  <a:pt x="685800" y="0"/>
                </a:lnTo>
                <a:lnTo>
                  <a:pt x="685800" y="1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3200"/>
          </a:p>
        </p:txBody>
      </p:sp>
      <p:sp>
        <p:nvSpPr>
          <p:cNvPr id="7" name="Freeform 50">
            <a:extLst>
              <a:ext uri="{FF2B5EF4-FFF2-40B4-BE49-F238E27FC236}">
                <a16:creationId xmlns:a16="http://schemas.microsoft.com/office/drawing/2014/main" id="{24724907-39F2-42A8-B0A9-AAAE1F25F47C}"/>
              </a:ext>
            </a:extLst>
          </p:cNvPr>
          <p:cNvSpPr/>
          <p:nvPr/>
        </p:nvSpPr>
        <p:spPr>
          <a:xfrm rot="16200000">
            <a:off x="5852289" y="2742410"/>
            <a:ext cx="1666081" cy="633980"/>
          </a:xfrm>
          <a:custGeom>
            <a:avLst/>
            <a:gdLst>
              <a:gd name="connsiteX0" fmla="*/ 1249561 w 1249561"/>
              <a:gd name="connsiteY0" fmla="*/ 1 h 475485"/>
              <a:gd name="connsiteX1" fmla="*/ 991278 w 1249561"/>
              <a:gd name="connsiteY1" fmla="*/ 475485 h 475485"/>
              <a:gd name="connsiteX2" fmla="*/ 434530 w 1249561"/>
              <a:gd name="connsiteY2" fmla="*/ 475485 h 475485"/>
              <a:gd name="connsiteX3" fmla="*/ 434531 w 1249561"/>
              <a:gd name="connsiteY3" fmla="*/ 475484 h 475485"/>
              <a:gd name="connsiteX4" fmla="*/ 0 w 1249561"/>
              <a:gd name="connsiteY4" fmla="*/ 475484 h 475485"/>
              <a:gd name="connsiteX5" fmla="*/ 521910 w 1249561"/>
              <a:gd name="connsiteY5" fmla="*/ 0 h 475485"/>
              <a:gd name="connsiteX6" fmla="*/ 1109579 w 1249561"/>
              <a:gd name="connsiteY6" fmla="*/ 0 h 475485"/>
              <a:gd name="connsiteX7" fmla="*/ 1109578 w 1249561"/>
              <a:gd name="connsiteY7" fmla="*/ 1 h 475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49561" h="475485">
                <a:moveTo>
                  <a:pt x="1249561" y="1"/>
                </a:moveTo>
                <a:lnTo>
                  <a:pt x="991278" y="475485"/>
                </a:lnTo>
                <a:lnTo>
                  <a:pt x="434530" y="475485"/>
                </a:lnTo>
                <a:lnTo>
                  <a:pt x="434531" y="475484"/>
                </a:lnTo>
                <a:lnTo>
                  <a:pt x="0" y="475484"/>
                </a:lnTo>
                <a:lnTo>
                  <a:pt x="521910" y="0"/>
                </a:lnTo>
                <a:lnTo>
                  <a:pt x="1109579" y="0"/>
                </a:lnTo>
                <a:lnTo>
                  <a:pt x="1109578" y="1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267"/>
          </a:p>
        </p:txBody>
      </p:sp>
      <p:sp>
        <p:nvSpPr>
          <p:cNvPr id="8" name="Freeform 49">
            <a:extLst>
              <a:ext uri="{FF2B5EF4-FFF2-40B4-BE49-F238E27FC236}">
                <a16:creationId xmlns:a16="http://schemas.microsoft.com/office/drawing/2014/main" id="{40152068-56FB-4C02-8E30-4CC6BBB5B6F7}"/>
              </a:ext>
            </a:extLst>
          </p:cNvPr>
          <p:cNvSpPr/>
          <p:nvPr/>
        </p:nvSpPr>
        <p:spPr>
          <a:xfrm rot="16200000">
            <a:off x="5667892" y="3889091"/>
            <a:ext cx="2034875" cy="633980"/>
          </a:xfrm>
          <a:custGeom>
            <a:avLst/>
            <a:gdLst>
              <a:gd name="connsiteX0" fmla="*/ 1526156 w 1526156"/>
              <a:gd name="connsiteY0" fmla="*/ 1 h 475485"/>
              <a:gd name="connsiteX1" fmla="*/ 1025091 w 1526156"/>
              <a:gd name="connsiteY1" fmla="*/ 475485 h 475485"/>
              <a:gd name="connsiteX2" fmla="*/ 355289 w 1526156"/>
              <a:gd name="connsiteY2" fmla="*/ 475485 h 475485"/>
              <a:gd name="connsiteX3" fmla="*/ 355289 w 1526156"/>
              <a:gd name="connsiteY3" fmla="*/ 475484 h 475485"/>
              <a:gd name="connsiteX4" fmla="*/ 0 w 1526156"/>
              <a:gd name="connsiteY4" fmla="*/ 475484 h 475485"/>
              <a:gd name="connsiteX5" fmla="*/ 789589 w 1526156"/>
              <a:gd name="connsiteY5" fmla="*/ 0 h 475485"/>
              <a:gd name="connsiteX6" fmla="*/ 1345888 w 1526156"/>
              <a:gd name="connsiteY6" fmla="*/ 0 h 475485"/>
              <a:gd name="connsiteX7" fmla="*/ 1345887 w 1526156"/>
              <a:gd name="connsiteY7" fmla="*/ 1 h 475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526156" h="475485">
                <a:moveTo>
                  <a:pt x="1526156" y="1"/>
                </a:moveTo>
                <a:lnTo>
                  <a:pt x="1025091" y="475485"/>
                </a:lnTo>
                <a:lnTo>
                  <a:pt x="355289" y="475485"/>
                </a:lnTo>
                <a:lnTo>
                  <a:pt x="355289" y="475484"/>
                </a:lnTo>
                <a:lnTo>
                  <a:pt x="0" y="475484"/>
                </a:lnTo>
                <a:lnTo>
                  <a:pt x="789589" y="0"/>
                </a:lnTo>
                <a:lnTo>
                  <a:pt x="1345888" y="0"/>
                </a:lnTo>
                <a:lnTo>
                  <a:pt x="1345887" y="1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4267"/>
          </a:p>
        </p:txBody>
      </p:sp>
      <p:sp>
        <p:nvSpPr>
          <p:cNvPr id="9" name="Freeform 30">
            <a:extLst>
              <a:ext uri="{FF2B5EF4-FFF2-40B4-BE49-F238E27FC236}">
                <a16:creationId xmlns:a16="http://schemas.microsoft.com/office/drawing/2014/main" id="{A55FFF68-41A4-47DD-A82E-D2C9E7AD60F3}"/>
              </a:ext>
            </a:extLst>
          </p:cNvPr>
          <p:cNvSpPr/>
          <p:nvPr/>
        </p:nvSpPr>
        <p:spPr>
          <a:xfrm rot="16200000">
            <a:off x="5491097" y="5029674"/>
            <a:ext cx="2388467" cy="633980"/>
          </a:xfrm>
          <a:custGeom>
            <a:avLst/>
            <a:gdLst>
              <a:gd name="connsiteX0" fmla="*/ 1791350 w 1791350"/>
              <a:gd name="connsiteY0" fmla="*/ 0 h 475485"/>
              <a:gd name="connsiteX1" fmla="*/ 998932 w 1791350"/>
              <a:gd name="connsiteY1" fmla="*/ 475485 h 475485"/>
              <a:gd name="connsiteX2" fmla="*/ 496283 w 1791350"/>
              <a:gd name="connsiteY2" fmla="*/ 475485 h 475485"/>
              <a:gd name="connsiteX3" fmla="*/ 496282 w 1791350"/>
              <a:gd name="connsiteY3" fmla="*/ 475485 h 475485"/>
              <a:gd name="connsiteX4" fmla="*/ 0 w 1791350"/>
              <a:gd name="connsiteY4" fmla="*/ 475485 h 475485"/>
              <a:gd name="connsiteX5" fmla="*/ 1075640 w 1791350"/>
              <a:gd name="connsiteY5" fmla="*/ 1 h 475485"/>
              <a:gd name="connsiteX6" fmla="*/ 1145140 w 1791350"/>
              <a:gd name="connsiteY6" fmla="*/ 1 h 475485"/>
              <a:gd name="connsiteX7" fmla="*/ 1145141 w 1791350"/>
              <a:gd name="connsiteY7" fmla="*/ 0 h 475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1350" h="475485">
                <a:moveTo>
                  <a:pt x="1791350" y="0"/>
                </a:moveTo>
                <a:lnTo>
                  <a:pt x="998932" y="475485"/>
                </a:lnTo>
                <a:lnTo>
                  <a:pt x="496283" y="475485"/>
                </a:lnTo>
                <a:lnTo>
                  <a:pt x="496282" y="475485"/>
                </a:lnTo>
                <a:lnTo>
                  <a:pt x="0" y="475485"/>
                </a:lnTo>
                <a:lnTo>
                  <a:pt x="1075640" y="1"/>
                </a:lnTo>
                <a:lnTo>
                  <a:pt x="1145140" y="1"/>
                </a:lnTo>
                <a:lnTo>
                  <a:pt x="1145141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3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FF48AE-6C65-408E-B73C-BCD2C028489D}"/>
              </a:ext>
            </a:extLst>
          </p:cNvPr>
          <p:cNvSpPr/>
          <p:nvPr/>
        </p:nvSpPr>
        <p:spPr>
          <a:xfrm>
            <a:off x="7001203" y="2582927"/>
            <a:ext cx="5165228" cy="1322847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tIns="0" rtlCol="0" anchor="ctr"/>
          <a:lstStyle/>
          <a:p>
            <a:endParaRPr lang="en-US" sz="4267" dirty="0">
              <a:solidFill>
                <a:srgbClr val="FFFFFF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B759644-B8A5-4881-AA00-5F0D47083DDA}"/>
              </a:ext>
            </a:extLst>
          </p:cNvPr>
          <p:cNvSpPr/>
          <p:nvPr/>
        </p:nvSpPr>
        <p:spPr>
          <a:xfrm>
            <a:off x="7001203" y="1264073"/>
            <a:ext cx="5165228" cy="132284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tIns="0" rtlCol="0" anchor="ctr"/>
          <a:lstStyle/>
          <a:p>
            <a:endParaRPr lang="en-US" sz="4267" dirty="0">
              <a:solidFill>
                <a:srgbClr val="FFFFFF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9FE39F4-2390-4490-95A5-DA9A1024AA0E}"/>
              </a:ext>
            </a:extLst>
          </p:cNvPr>
          <p:cNvSpPr/>
          <p:nvPr/>
        </p:nvSpPr>
        <p:spPr>
          <a:xfrm>
            <a:off x="7001203" y="3900670"/>
            <a:ext cx="5165228" cy="1322847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tIns="0" rtlCol="0" anchor="ctr"/>
          <a:lstStyle/>
          <a:p>
            <a:endParaRPr lang="en-US" sz="4267" dirty="0">
              <a:solidFill>
                <a:srgbClr val="FFFFFF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76E60EA-79C6-4465-9D80-50016308931F}"/>
              </a:ext>
            </a:extLst>
          </p:cNvPr>
          <p:cNvSpPr/>
          <p:nvPr/>
        </p:nvSpPr>
        <p:spPr>
          <a:xfrm>
            <a:off x="7001203" y="5218050"/>
            <a:ext cx="5165228" cy="132284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65760" tIns="0" rtlCol="0" anchor="ctr"/>
          <a:lstStyle/>
          <a:p>
            <a:endParaRPr lang="en-US" sz="4267" dirty="0">
              <a:solidFill>
                <a:srgbClr val="FFFFFF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A0F3C81-6AF9-4C1B-8FF9-3A622CFF730E}"/>
              </a:ext>
            </a:extLst>
          </p:cNvPr>
          <p:cNvSpPr/>
          <p:nvPr/>
        </p:nvSpPr>
        <p:spPr>
          <a:xfrm>
            <a:off x="7372096" y="1596390"/>
            <a:ext cx="3829304" cy="75687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2133" dirty="0">
                <a:solidFill>
                  <a:srgbClr val="FFFFFF"/>
                </a:solidFill>
              </a:rPr>
              <a:t>FORMATION</a:t>
            </a:r>
          </a:p>
          <a:p>
            <a:pPr>
              <a:lnSpc>
                <a:spcPct val="85000"/>
              </a:lnSpc>
            </a:pPr>
            <a:r>
              <a:rPr lang="fr-FR" sz="1467" dirty="0">
                <a:solidFill>
                  <a:srgbClr val="FFFFFF"/>
                </a:solidFill>
              </a:rPr>
              <a:t>Organisation d'ateliers de formation de l'équipe du CES pour l'utilisation des outils. </a:t>
            </a:r>
            <a:r>
              <a:rPr lang="en-US" sz="1467" dirty="0">
                <a:solidFill>
                  <a:srgbClr val="FFFFFF"/>
                </a:solidFill>
              </a:rPr>
              <a:t> 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C8CC513-94DF-4F20-9878-C57314FABF89}"/>
              </a:ext>
            </a:extLst>
          </p:cNvPr>
          <p:cNvSpPr/>
          <p:nvPr/>
        </p:nvSpPr>
        <p:spPr>
          <a:xfrm>
            <a:off x="7372096" y="2837053"/>
            <a:ext cx="3737864" cy="948786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2133" dirty="0">
                <a:solidFill>
                  <a:srgbClr val="FFFFFF"/>
                </a:solidFill>
              </a:rPr>
              <a:t>DISSEMINATION</a:t>
            </a:r>
          </a:p>
          <a:p>
            <a:pPr>
              <a:lnSpc>
                <a:spcPct val="85000"/>
              </a:lnSpc>
            </a:pPr>
            <a:r>
              <a:rPr lang="fr-FR" sz="1467" dirty="0">
                <a:solidFill>
                  <a:srgbClr val="FFFFFF"/>
                </a:solidFill>
              </a:rPr>
              <a:t>Dissémination des résultats de la cartographie des ressources par le DPRS auprès de tous les acteurs. </a:t>
            </a:r>
            <a:endParaRPr lang="en-US" sz="1467" dirty="0">
              <a:solidFill>
                <a:srgbClr val="FFFFFF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D90D292-B7A8-4125-A067-78EC7C48E5F3}"/>
              </a:ext>
            </a:extLst>
          </p:cNvPr>
          <p:cNvSpPr/>
          <p:nvPr/>
        </p:nvSpPr>
        <p:spPr>
          <a:xfrm>
            <a:off x="7372096" y="4152267"/>
            <a:ext cx="3737864" cy="75687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2133" dirty="0">
                <a:solidFill>
                  <a:srgbClr val="FFFFFF"/>
                </a:solidFill>
              </a:rPr>
              <a:t>ANALYSE APPROFONDIE</a:t>
            </a:r>
            <a:endParaRPr lang="fr-FR" sz="1467" dirty="0">
              <a:solidFill>
                <a:srgbClr val="FFFFFF"/>
              </a:solidFill>
            </a:endParaRPr>
          </a:p>
          <a:p>
            <a:pPr>
              <a:lnSpc>
                <a:spcPct val="85000"/>
              </a:lnSpc>
            </a:pPr>
            <a:r>
              <a:rPr lang="fr-FR" sz="1467" dirty="0">
                <a:solidFill>
                  <a:srgbClr val="FFFFFF"/>
                </a:solidFill>
              </a:rPr>
              <a:t>Définition des points à analyser en profondeur et à compléter par des données qualitatives. </a:t>
            </a:r>
            <a:endParaRPr lang="en-US" sz="1467" dirty="0">
              <a:solidFill>
                <a:srgbClr val="FFFFFF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78E65A9-1D2F-4044-AF3D-A343D7B8A581}"/>
              </a:ext>
            </a:extLst>
          </p:cNvPr>
          <p:cNvSpPr/>
          <p:nvPr/>
        </p:nvSpPr>
        <p:spPr>
          <a:xfrm>
            <a:off x="7350830" y="5461151"/>
            <a:ext cx="3829304" cy="75687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>
              <a:lnSpc>
                <a:spcPct val="85000"/>
              </a:lnSpc>
            </a:pPr>
            <a:r>
              <a:rPr lang="en-US" sz="2133" dirty="0">
                <a:solidFill>
                  <a:srgbClr val="FFFFFF"/>
                </a:solidFill>
              </a:rPr>
              <a:t>INSTITUTIONNALISATION</a:t>
            </a:r>
            <a:endParaRPr lang="fr-FR" sz="1467" dirty="0">
              <a:solidFill>
                <a:srgbClr val="FFFFFF"/>
              </a:solidFill>
            </a:endParaRPr>
          </a:p>
          <a:p>
            <a:pPr>
              <a:lnSpc>
                <a:spcPct val="85000"/>
              </a:lnSpc>
            </a:pPr>
            <a:r>
              <a:rPr lang="fr-FR" sz="1467" dirty="0">
                <a:solidFill>
                  <a:srgbClr val="FFFFFF"/>
                </a:solidFill>
              </a:rPr>
              <a:t>Mise à jour des données et transformation en une activité de routine institutionnalisée.</a:t>
            </a:r>
            <a:endParaRPr lang="en-US" sz="1467" dirty="0">
              <a:solidFill>
                <a:srgbClr val="FFFFFF"/>
              </a:solidFill>
            </a:endParaRPr>
          </a:p>
        </p:txBody>
      </p:sp>
      <p:sp>
        <p:nvSpPr>
          <p:cNvPr id="18" name="Freeform 36">
            <a:extLst>
              <a:ext uri="{FF2B5EF4-FFF2-40B4-BE49-F238E27FC236}">
                <a16:creationId xmlns:a16="http://schemas.microsoft.com/office/drawing/2014/main" id="{04091874-1E24-48FE-B2AC-796A84E068F8}"/>
              </a:ext>
            </a:extLst>
          </p:cNvPr>
          <p:cNvSpPr>
            <a:spLocks noEditPoints="1"/>
          </p:cNvSpPr>
          <p:nvPr/>
        </p:nvSpPr>
        <p:spPr bwMode="auto">
          <a:xfrm>
            <a:off x="522395" y="990601"/>
            <a:ext cx="5110428" cy="6978543"/>
          </a:xfrm>
          <a:custGeom>
            <a:avLst/>
            <a:gdLst>
              <a:gd name="T0" fmla="*/ 913 w 1589"/>
              <a:gd name="T1" fmla="*/ 29 h 2169"/>
              <a:gd name="T2" fmla="*/ 126 w 1589"/>
              <a:gd name="T3" fmla="*/ 393 h 2169"/>
              <a:gd name="T4" fmla="*/ 89 w 1589"/>
              <a:gd name="T5" fmla="*/ 690 h 2169"/>
              <a:gd name="T6" fmla="*/ 103 w 1589"/>
              <a:gd name="T7" fmla="*/ 930 h 2169"/>
              <a:gd name="T8" fmla="*/ 20 w 1589"/>
              <a:gd name="T9" fmla="*/ 1132 h 2169"/>
              <a:gd name="T10" fmla="*/ 99 w 1589"/>
              <a:gd name="T11" fmla="*/ 1174 h 2169"/>
              <a:gd name="T12" fmla="*/ 69 w 1589"/>
              <a:gd name="T13" fmla="*/ 1255 h 2169"/>
              <a:gd name="T14" fmla="*/ 107 w 1589"/>
              <a:gd name="T15" fmla="*/ 1335 h 2169"/>
              <a:gd name="T16" fmla="*/ 90 w 1589"/>
              <a:gd name="T17" fmla="*/ 1427 h 2169"/>
              <a:gd name="T18" fmla="*/ 153 w 1589"/>
              <a:gd name="T19" fmla="*/ 1482 h 2169"/>
              <a:gd name="T20" fmla="*/ 229 w 1589"/>
              <a:gd name="T21" fmla="*/ 1642 h 2169"/>
              <a:gd name="T22" fmla="*/ 583 w 1589"/>
              <a:gd name="T23" fmla="*/ 1567 h 2169"/>
              <a:gd name="T24" fmla="*/ 675 w 1589"/>
              <a:gd name="T25" fmla="*/ 1816 h 2169"/>
              <a:gd name="T26" fmla="*/ 630 w 1589"/>
              <a:gd name="T27" fmla="*/ 2057 h 2169"/>
              <a:gd name="T28" fmla="*/ 696 w 1589"/>
              <a:gd name="T29" fmla="*/ 2163 h 2169"/>
              <a:gd name="T30" fmla="*/ 1299 w 1589"/>
              <a:gd name="T31" fmla="*/ 1653 h 2169"/>
              <a:gd name="T32" fmla="*/ 1589 w 1589"/>
              <a:gd name="T33" fmla="*/ 633 h 2169"/>
              <a:gd name="T34" fmla="*/ 1216 w 1589"/>
              <a:gd name="T35" fmla="*/ 1223 h 2169"/>
              <a:gd name="T36" fmla="*/ 1103 w 1589"/>
              <a:gd name="T37" fmla="*/ 1202 h 2169"/>
              <a:gd name="T38" fmla="*/ 1051 w 1589"/>
              <a:gd name="T39" fmla="*/ 1111 h 2169"/>
              <a:gd name="T40" fmla="*/ 975 w 1589"/>
              <a:gd name="T41" fmla="*/ 1004 h 2169"/>
              <a:gd name="T42" fmla="*/ 818 w 1589"/>
              <a:gd name="T43" fmla="*/ 995 h 2169"/>
              <a:gd name="T44" fmla="*/ 630 w 1589"/>
              <a:gd name="T45" fmla="*/ 887 h 2169"/>
              <a:gd name="T46" fmla="*/ 551 w 1589"/>
              <a:gd name="T47" fmla="*/ 808 h 2169"/>
              <a:gd name="T48" fmla="*/ 442 w 1589"/>
              <a:gd name="T49" fmla="*/ 755 h 2169"/>
              <a:gd name="T50" fmla="*/ 341 w 1589"/>
              <a:gd name="T51" fmla="*/ 708 h 2169"/>
              <a:gd name="T52" fmla="*/ 171 w 1589"/>
              <a:gd name="T53" fmla="*/ 590 h 2169"/>
              <a:gd name="T54" fmla="*/ 198 w 1589"/>
              <a:gd name="T55" fmla="*/ 482 h 2169"/>
              <a:gd name="T56" fmla="*/ 244 w 1589"/>
              <a:gd name="T57" fmla="*/ 409 h 2169"/>
              <a:gd name="T58" fmla="*/ 370 w 1589"/>
              <a:gd name="T59" fmla="*/ 283 h 2169"/>
              <a:gd name="T60" fmla="*/ 457 w 1589"/>
              <a:gd name="T61" fmla="*/ 211 h 2169"/>
              <a:gd name="T62" fmla="*/ 592 w 1589"/>
              <a:gd name="T63" fmla="*/ 147 h 2169"/>
              <a:gd name="T64" fmla="*/ 782 w 1589"/>
              <a:gd name="T65" fmla="*/ 96 h 2169"/>
              <a:gd name="T66" fmla="*/ 936 w 1589"/>
              <a:gd name="T67" fmla="*/ 87 h 2169"/>
              <a:gd name="T68" fmla="*/ 1105 w 1589"/>
              <a:gd name="T69" fmla="*/ 108 h 2169"/>
              <a:gd name="T70" fmla="*/ 1373 w 1589"/>
              <a:gd name="T71" fmla="*/ 309 h 2169"/>
              <a:gd name="T72" fmla="*/ 1523 w 1589"/>
              <a:gd name="T73" fmla="*/ 620 h 2169"/>
              <a:gd name="T74" fmla="*/ 1529 w 1589"/>
              <a:gd name="T75" fmla="*/ 754 h 2169"/>
              <a:gd name="T76" fmla="*/ 1439 w 1589"/>
              <a:gd name="T77" fmla="*/ 910 h 2169"/>
              <a:gd name="T78" fmla="*/ 1297 w 1589"/>
              <a:gd name="T79" fmla="*/ 1105 h 2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589" h="2169">
                <a:moveTo>
                  <a:pt x="1589" y="633"/>
                </a:moveTo>
                <a:cubicBezTo>
                  <a:pt x="1589" y="257"/>
                  <a:pt x="1275" y="0"/>
                  <a:pt x="913" y="29"/>
                </a:cubicBezTo>
                <a:cubicBezTo>
                  <a:pt x="552" y="57"/>
                  <a:pt x="378" y="162"/>
                  <a:pt x="302" y="210"/>
                </a:cubicBezTo>
                <a:cubicBezTo>
                  <a:pt x="226" y="257"/>
                  <a:pt x="152" y="341"/>
                  <a:pt x="126" y="393"/>
                </a:cubicBezTo>
                <a:cubicBezTo>
                  <a:pt x="99" y="445"/>
                  <a:pt x="83" y="542"/>
                  <a:pt x="80" y="587"/>
                </a:cubicBezTo>
                <a:cubicBezTo>
                  <a:pt x="77" y="632"/>
                  <a:pt x="82" y="660"/>
                  <a:pt x="89" y="690"/>
                </a:cubicBezTo>
                <a:cubicBezTo>
                  <a:pt x="96" y="720"/>
                  <a:pt x="126" y="769"/>
                  <a:pt x="135" y="806"/>
                </a:cubicBezTo>
                <a:cubicBezTo>
                  <a:pt x="143" y="842"/>
                  <a:pt x="120" y="904"/>
                  <a:pt x="103" y="930"/>
                </a:cubicBezTo>
                <a:cubicBezTo>
                  <a:pt x="87" y="955"/>
                  <a:pt x="29" y="1039"/>
                  <a:pt x="15" y="1060"/>
                </a:cubicBezTo>
                <a:cubicBezTo>
                  <a:pt x="0" y="1081"/>
                  <a:pt x="10" y="1109"/>
                  <a:pt x="20" y="1132"/>
                </a:cubicBezTo>
                <a:cubicBezTo>
                  <a:pt x="30" y="1156"/>
                  <a:pt x="67" y="1165"/>
                  <a:pt x="75" y="1168"/>
                </a:cubicBezTo>
                <a:cubicBezTo>
                  <a:pt x="83" y="1171"/>
                  <a:pt x="96" y="1171"/>
                  <a:pt x="99" y="1174"/>
                </a:cubicBezTo>
                <a:cubicBezTo>
                  <a:pt x="101" y="1177"/>
                  <a:pt x="97" y="1202"/>
                  <a:pt x="92" y="1217"/>
                </a:cubicBezTo>
                <a:cubicBezTo>
                  <a:pt x="88" y="1231"/>
                  <a:pt x="74" y="1247"/>
                  <a:pt x="69" y="1255"/>
                </a:cubicBezTo>
                <a:cubicBezTo>
                  <a:pt x="64" y="1264"/>
                  <a:pt x="72" y="1292"/>
                  <a:pt x="80" y="1309"/>
                </a:cubicBezTo>
                <a:cubicBezTo>
                  <a:pt x="87" y="1326"/>
                  <a:pt x="107" y="1335"/>
                  <a:pt x="107" y="1335"/>
                </a:cubicBezTo>
                <a:cubicBezTo>
                  <a:pt x="107" y="1335"/>
                  <a:pt x="79" y="1358"/>
                  <a:pt x="80" y="1384"/>
                </a:cubicBezTo>
                <a:cubicBezTo>
                  <a:pt x="80" y="1410"/>
                  <a:pt x="84" y="1423"/>
                  <a:pt x="90" y="1427"/>
                </a:cubicBezTo>
                <a:cubicBezTo>
                  <a:pt x="95" y="1431"/>
                  <a:pt x="127" y="1439"/>
                  <a:pt x="135" y="1451"/>
                </a:cubicBezTo>
                <a:cubicBezTo>
                  <a:pt x="143" y="1462"/>
                  <a:pt x="151" y="1473"/>
                  <a:pt x="153" y="1482"/>
                </a:cubicBezTo>
                <a:cubicBezTo>
                  <a:pt x="154" y="1488"/>
                  <a:pt x="150" y="1502"/>
                  <a:pt x="149" y="1511"/>
                </a:cubicBezTo>
                <a:cubicBezTo>
                  <a:pt x="145" y="1553"/>
                  <a:pt x="162" y="1638"/>
                  <a:pt x="229" y="1642"/>
                </a:cubicBezTo>
                <a:cubicBezTo>
                  <a:pt x="282" y="1645"/>
                  <a:pt x="365" y="1614"/>
                  <a:pt x="396" y="1607"/>
                </a:cubicBezTo>
                <a:cubicBezTo>
                  <a:pt x="426" y="1601"/>
                  <a:pt x="559" y="1551"/>
                  <a:pt x="583" y="1567"/>
                </a:cubicBezTo>
                <a:cubicBezTo>
                  <a:pt x="608" y="1584"/>
                  <a:pt x="612" y="1609"/>
                  <a:pt x="619" y="1632"/>
                </a:cubicBezTo>
                <a:cubicBezTo>
                  <a:pt x="627" y="1656"/>
                  <a:pt x="665" y="1773"/>
                  <a:pt x="675" y="1816"/>
                </a:cubicBezTo>
                <a:cubicBezTo>
                  <a:pt x="685" y="1858"/>
                  <a:pt x="708" y="1934"/>
                  <a:pt x="714" y="1957"/>
                </a:cubicBezTo>
                <a:cubicBezTo>
                  <a:pt x="675" y="1967"/>
                  <a:pt x="635" y="2046"/>
                  <a:pt x="630" y="2057"/>
                </a:cubicBezTo>
                <a:cubicBezTo>
                  <a:pt x="609" y="2163"/>
                  <a:pt x="609" y="2163"/>
                  <a:pt x="609" y="2163"/>
                </a:cubicBezTo>
                <a:cubicBezTo>
                  <a:pt x="609" y="2163"/>
                  <a:pt x="697" y="2169"/>
                  <a:pt x="696" y="2163"/>
                </a:cubicBezTo>
                <a:cubicBezTo>
                  <a:pt x="695" y="2158"/>
                  <a:pt x="1263" y="1721"/>
                  <a:pt x="1263" y="1721"/>
                </a:cubicBezTo>
                <a:cubicBezTo>
                  <a:pt x="1299" y="1653"/>
                  <a:pt x="1299" y="1653"/>
                  <a:pt x="1299" y="1653"/>
                </a:cubicBezTo>
                <a:cubicBezTo>
                  <a:pt x="1219" y="1406"/>
                  <a:pt x="1279" y="1307"/>
                  <a:pt x="1355" y="1193"/>
                </a:cubicBezTo>
                <a:cubicBezTo>
                  <a:pt x="1426" y="1087"/>
                  <a:pt x="1589" y="1008"/>
                  <a:pt x="1589" y="633"/>
                </a:cubicBezTo>
                <a:close/>
                <a:moveTo>
                  <a:pt x="1297" y="1119"/>
                </a:moveTo>
                <a:cubicBezTo>
                  <a:pt x="1297" y="1169"/>
                  <a:pt x="1263" y="1211"/>
                  <a:pt x="1216" y="1223"/>
                </a:cubicBezTo>
                <a:cubicBezTo>
                  <a:pt x="1208" y="1245"/>
                  <a:pt x="1187" y="1261"/>
                  <a:pt x="1162" y="1261"/>
                </a:cubicBezTo>
                <a:cubicBezTo>
                  <a:pt x="1129" y="1261"/>
                  <a:pt x="1103" y="1234"/>
                  <a:pt x="1103" y="1202"/>
                </a:cubicBezTo>
                <a:cubicBezTo>
                  <a:pt x="1103" y="1197"/>
                  <a:pt x="1104" y="1191"/>
                  <a:pt x="1106" y="1186"/>
                </a:cubicBezTo>
                <a:cubicBezTo>
                  <a:pt x="1074" y="1176"/>
                  <a:pt x="1051" y="1146"/>
                  <a:pt x="1051" y="1111"/>
                </a:cubicBezTo>
                <a:cubicBezTo>
                  <a:pt x="1051" y="1107"/>
                  <a:pt x="1052" y="1103"/>
                  <a:pt x="1052" y="1099"/>
                </a:cubicBezTo>
                <a:cubicBezTo>
                  <a:pt x="1010" y="1087"/>
                  <a:pt x="978" y="1050"/>
                  <a:pt x="975" y="1004"/>
                </a:cubicBezTo>
                <a:cubicBezTo>
                  <a:pt x="946" y="1001"/>
                  <a:pt x="920" y="993"/>
                  <a:pt x="895" y="981"/>
                </a:cubicBezTo>
                <a:cubicBezTo>
                  <a:pt x="871" y="990"/>
                  <a:pt x="845" y="995"/>
                  <a:pt x="818" y="995"/>
                </a:cubicBezTo>
                <a:cubicBezTo>
                  <a:pt x="738" y="995"/>
                  <a:pt x="668" y="952"/>
                  <a:pt x="631" y="887"/>
                </a:cubicBezTo>
                <a:cubicBezTo>
                  <a:pt x="631" y="887"/>
                  <a:pt x="630" y="887"/>
                  <a:pt x="630" y="887"/>
                </a:cubicBezTo>
                <a:cubicBezTo>
                  <a:pt x="586" y="887"/>
                  <a:pt x="551" y="852"/>
                  <a:pt x="551" y="809"/>
                </a:cubicBezTo>
                <a:cubicBezTo>
                  <a:pt x="551" y="809"/>
                  <a:pt x="551" y="809"/>
                  <a:pt x="551" y="808"/>
                </a:cubicBezTo>
                <a:cubicBezTo>
                  <a:pt x="549" y="809"/>
                  <a:pt x="547" y="809"/>
                  <a:pt x="545" y="809"/>
                </a:cubicBezTo>
                <a:cubicBezTo>
                  <a:pt x="502" y="809"/>
                  <a:pt x="465" y="787"/>
                  <a:pt x="442" y="755"/>
                </a:cubicBezTo>
                <a:cubicBezTo>
                  <a:pt x="433" y="758"/>
                  <a:pt x="424" y="760"/>
                  <a:pt x="414" y="760"/>
                </a:cubicBezTo>
                <a:cubicBezTo>
                  <a:pt x="380" y="760"/>
                  <a:pt x="352" y="738"/>
                  <a:pt x="341" y="708"/>
                </a:cubicBezTo>
                <a:cubicBezTo>
                  <a:pt x="327" y="713"/>
                  <a:pt x="312" y="716"/>
                  <a:pt x="297" y="716"/>
                </a:cubicBezTo>
                <a:cubicBezTo>
                  <a:pt x="227" y="716"/>
                  <a:pt x="171" y="660"/>
                  <a:pt x="171" y="590"/>
                </a:cubicBezTo>
                <a:cubicBezTo>
                  <a:pt x="171" y="559"/>
                  <a:pt x="183" y="530"/>
                  <a:pt x="202" y="508"/>
                </a:cubicBezTo>
                <a:cubicBezTo>
                  <a:pt x="199" y="500"/>
                  <a:pt x="198" y="491"/>
                  <a:pt x="198" y="482"/>
                </a:cubicBezTo>
                <a:cubicBezTo>
                  <a:pt x="198" y="450"/>
                  <a:pt x="217" y="422"/>
                  <a:pt x="244" y="410"/>
                </a:cubicBezTo>
                <a:cubicBezTo>
                  <a:pt x="244" y="410"/>
                  <a:pt x="244" y="409"/>
                  <a:pt x="244" y="409"/>
                </a:cubicBezTo>
                <a:cubicBezTo>
                  <a:pt x="244" y="340"/>
                  <a:pt x="300" y="283"/>
                  <a:pt x="370" y="283"/>
                </a:cubicBezTo>
                <a:cubicBezTo>
                  <a:pt x="370" y="283"/>
                  <a:pt x="370" y="283"/>
                  <a:pt x="370" y="283"/>
                </a:cubicBezTo>
                <a:cubicBezTo>
                  <a:pt x="370" y="282"/>
                  <a:pt x="370" y="281"/>
                  <a:pt x="370" y="280"/>
                </a:cubicBezTo>
                <a:cubicBezTo>
                  <a:pt x="370" y="236"/>
                  <a:pt x="414" y="211"/>
                  <a:pt x="457" y="211"/>
                </a:cubicBezTo>
                <a:cubicBezTo>
                  <a:pt x="470" y="211"/>
                  <a:pt x="481" y="214"/>
                  <a:pt x="492" y="219"/>
                </a:cubicBezTo>
                <a:cubicBezTo>
                  <a:pt x="514" y="181"/>
                  <a:pt x="545" y="147"/>
                  <a:pt x="592" y="147"/>
                </a:cubicBezTo>
                <a:cubicBezTo>
                  <a:pt x="609" y="147"/>
                  <a:pt x="626" y="151"/>
                  <a:pt x="641" y="157"/>
                </a:cubicBezTo>
                <a:cubicBezTo>
                  <a:pt x="679" y="125"/>
                  <a:pt x="728" y="96"/>
                  <a:pt x="782" y="96"/>
                </a:cubicBezTo>
                <a:cubicBezTo>
                  <a:pt x="817" y="96"/>
                  <a:pt x="841" y="99"/>
                  <a:pt x="871" y="114"/>
                </a:cubicBezTo>
                <a:cubicBezTo>
                  <a:pt x="888" y="105"/>
                  <a:pt x="916" y="87"/>
                  <a:pt x="936" y="87"/>
                </a:cubicBezTo>
                <a:cubicBezTo>
                  <a:pt x="980" y="87"/>
                  <a:pt x="1011" y="86"/>
                  <a:pt x="1033" y="120"/>
                </a:cubicBezTo>
                <a:cubicBezTo>
                  <a:pt x="1046" y="111"/>
                  <a:pt x="1088" y="108"/>
                  <a:pt x="1105" y="108"/>
                </a:cubicBezTo>
                <a:cubicBezTo>
                  <a:pt x="1139" y="108"/>
                  <a:pt x="1188" y="156"/>
                  <a:pt x="1199" y="186"/>
                </a:cubicBezTo>
                <a:cubicBezTo>
                  <a:pt x="1279" y="152"/>
                  <a:pt x="1357" y="225"/>
                  <a:pt x="1373" y="309"/>
                </a:cubicBezTo>
                <a:cubicBezTo>
                  <a:pt x="1432" y="305"/>
                  <a:pt x="1485" y="391"/>
                  <a:pt x="1462" y="442"/>
                </a:cubicBezTo>
                <a:cubicBezTo>
                  <a:pt x="1513" y="483"/>
                  <a:pt x="1523" y="549"/>
                  <a:pt x="1523" y="620"/>
                </a:cubicBezTo>
                <a:cubicBezTo>
                  <a:pt x="1523" y="645"/>
                  <a:pt x="1519" y="669"/>
                  <a:pt x="1512" y="692"/>
                </a:cubicBezTo>
                <a:cubicBezTo>
                  <a:pt x="1522" y="710"/>
                  <a:pt x="1529" y="731"/>
                  <a:pt x="1529" y="754"/>
                </a:cubicBezTo>
                <a:cubicBezTo>
                  <a:pt x="1529" y="814"/>
                  <a:pt x="1487" y="864"/>
                  <a:pt x="1432" y="877"/>
                </a:cubicBezTo>
                <a:cubicBezTo>
                  <a:pt x="1437" y="887"/>
                  <a:pt x="1439" y="898"/>
                  <a:pt x="1439" y="910"/>
                </a:cubicBezTo>
                <a:cubicBezTo>
                  <a:pt x="1439" y="946"/>
                  <a:pt x="1415" y="976"/>
                  <a:pt x="1383" y="985"/>
                </a:cubicBezTo>
                <a:cubicBezTo>
                  <a:pt x="1381" y="1040"/>
                  <a:pt x="1346" y="1087"/>
                  <a:pt x="1297" y="1105"/>
                </a:cubicBezTo>
                <a:cubicBezTo>
                  <a:pt x="1297" y="1110"/>
                  <a:pt x="1297" y="1114"/>
                  <a:pt x="1297" y="1119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ln>
                <a:solidFill>
                  <a:schemeClr val="accent2"/>
                </a:solidFill>
              </a:ln>
              <a:solidFill>
                <a:srgbClr val="373737"/>
              </a:solidFill>
              <a:latin typeface="Gotham Light"/>
              <a:cs typeface="Gotham Light"/>
            </a:endParaRPr>
          </a:p>
        </p:txBody>
      </p:sp>
      <p:sp>
        <p:nvSpPr>
          <p:cNvPr id="19" name="Freeform 108">
            <a:extLst>
              <a:ext uri="{FF2B5EF4-FFF2-40B4-BE49-F238E27FC236}">
                <a16:creationId xmlns:a16="http://schemas.microsoft.com/office/drawing/2014/main" id="{F568FACC-A44B-410E-A9BF-F8F3E4A19787}"/>
              </a:ext>
            </a:extLst>
          </p:cNvPr>
          <p:cNvSpPr>
            <a:spLocks noEditPoints="1"/>
          </p:cNvSpPr>
          <p:nvPr/>
        </p:nvSpPr>
        <p:spPr bwMode="auto">
          <a:xfrm>
            <a:off x="2645900" y="1880828"/>
            <a:ext cx="1570569" cy="1656184"/>
          </a:xfrm>
          <a:custGeom>
            <a:avLst/>
            <a:gdLst>
              <a:gd name="T0" fmla="*/ 594 w 594"/>
              <a:gd name="T1" fmla="*/ 421 h 627"/>
              <a:gd name="T2" fmla="*/ 594 w 594"/>
              <a:gd name="T3" fmla="*/ 420 h 627"/>
              <a:gd name="T4" fmla="*/ 594 w 594"/>
              <a:gd name="T5" fmla="*/ 419 h 627"/>
              <a:gd name="T6" fmla="*/ 594 w 594"/>
              <a:gd name="T7" fmla="*/ 418 h 627"/>
              <a:gd name="T8" fmla="*/ 499 w 594"/>
              <a:gd name="T9" fmla="*/ 149 h 627"/>
              <a:gd name="T10" fmla="*/ 498 w 594"/>
              <a:gd name="T11" fmla="*/ 147 h 627"/>
              <a:gd name="T12" fmla="*/ 496 w 594"/>
              <a:gd name="T13" fmla="*/ 146 h 627"/>
              <a:gd name="T14" fmla="*/ 494 w 594"/>
              <a:gd name="T15" fmla="*/ 145 h 627"/>
              <a:gd name="T16" fmla="*/ 329 w 594"/>
              <a:gd name="T17" fmla="*/ 100 h 627"/>
              <a:gd name="T18" fmla="*/ 305 w 594"/>
              <a:gd name="T19" fmla="*/ 68 h 627"/>
              <a:gd name="T20" fmla="*/ 298 w 594"/>
              <a:gd name="T21" fmla="*/ 0 h 627"/>
              <a:gd name="T22" fmla="*/ 291 w 594"/>
              <a:gd name="T23" fmla="*/ 68 h 627"/>
              <a:gd name="T24" fmla="*/ 105 w 594"/>
              <a:gd name="T25" fmla="*/ 39 h 627"/>
              <a:gd name="T26" fmla="*/ 103 w 594"/>
              <a:gd name="T27" fmla="*/ 38 h 627"/>
              <a:gd name="T28" fmla="*/ 101 w 594"/>
              <a:gd name="T29" fmla="*/ 39 h 627"/>
              <a:gd name="T30" fmla="*/ 99 w 594"/>
              <a:gd name="T31" fmla="*/ 40 h 627"/>
              <a:gd name="T32" fmla="*/ 97 w 594"/>
              <a:gd name="T33" fmla="*/ 41 h 627"/>
              <a:gd name="T34" fmla="*/ 97 w 594"/>
              <a:gd name="T35" fmla="*/ 43 h 627"/>
              <a:gd name="T36" fmla="*/ 1 w 594"/>
              <a:gd name="T37" fmla="*/ 310 h 627"/>
              <a:gd name="T38" fmla="*/ 0 w 594"/>
              <a:gd name="T39" fmla="*/ 311 h 627"/>
              <a:gd name="T40" fmla="*/ 0 w 594"/>
              <a:gd name="T41" fmla="*/ 313 h 627"/>
              <a:gd name="T42" fmla="*/ 0 w 594"/>
              <a:gd name="T43" fmla="*/ 314 h 627"/>
              <a:gd name="T44" fmla="*/ 1 w 594"/>
              <a:gd name="T45" fmla="*/ 315 h 627"/>
              <a:gd name="T46" fmla="*/ 1 w 594"/>
              <a:gd name="T47" fmla="*/ 316 h 627"/>
              <a:gd name="T48" fmla="*/ 1 w 594"/>
              <a:gd name="T49" fmla="*/ 316 h 627"/>
              <a:gd name="T50" fmla="*/ 205 w 594"/>
              <a:gd name="T51" fmla="*/ 316 h 627"/>
              <a:gd name="T52" fmla="*/ 205 w 594"/>
              <a:gd name="T53" fmla="*/ 316 h 627"/>
              <a:gd name="T54" fmla="*/ 205 w 594"/>
              <a:gd name="T55" fmla="*/ 315 h 627"/>
              <a:gd name="T56" fmla="*/ 206 w 594"/>
              <a:gd name="T57" fmla="*/ 314 h 627"/>
              <a:gd name="T58" fmla="*/ 206 w 594"/>
              <a:gd name="T59" fmla="*/ 313 h 627"/>
              <a:gd name="T60" fmla="*/ 206 w 594"/>
              <a:gd name="T61" fmla="*/ 311 h 627"/>
              <a:gd name="T62" fmla="*/ 205 w 594"/>
              <a:gd name="T63" fmla="*/ 310 h 627"/>
              <a:gd name="T64" fmla="*/ 266 w 594"/>
              <a:gd name="T65" fmla="*/ 97 h 627"/>
              <a:gd name="T66" fmla="*/ 291 w 594"/>
              <a:gd name="T67" fmla="*/ 130 h 627"/>
              <a:gd name="T68" fmla="*/ 182 w 594"/>
              <a:gd name="T69" fmla="*/ 578 h 627"/>
              <a:gd name="T70" fmla="*/ 146 w 594"/>
              <a:gd name="T71" fmla="*/ 627 h 627"/>
              <a:gd name="T72" fmla="*/ 457 w 594"/>
              <a:gd name="T73" fmla="*/ 620 h 627"/>
              <a:gd name="T74" fmla="*/ 305 w 594"/>
              <a:gd name="T75" fmla="*/ 578 h 627"/>
              <a:gd name="T76" fmla="*/ 326 w 594"/>
              <a:gd name="T77" fmla="*/ 114 h 627"/>
              <a:gd name="T78" fmla="*/ 389 w 594"/>
              <a:gd name="T79" fmla="*/ 418 h 627"/>
              <a:gd name="T80" fmla="*/ 389 w 594"/>
              <a:gd name="T81" fmla="*/ 419 h 627"/>
              <a:gd name="T82" fmla="*/ 388 w 594"/>
              <a:gd name="T83" fmla="*/ 420 h 627"/>
              <a:gd name="T84" fmla="*/ 389 w 594"/>
              <a:gd name="T85" fmla="*/ 421 h 627"/>
              <a:gd name="T86" fmla="*/ 389 w 594"/>
              <a:gd name="T87" fmla="*/ 422 h 627"/>
              <a:gd name="T88" fmla="*/ 390 w 594"/>
              <a:gd name="T89" fmla="*/ 424 h 627"/>
              <a:gd name="T90" fmla="*/ 390 w 594"/>
              <a:gd name="T91" fmla="*/ 424 h 627"/>
              <a:gd name="T92" fmla="*/ 593 w 594"/>
              <a:gd name="T93" fmla="*/ 424 h 627"/>
              <a:gd name="T94" fmla="*/ 593 w 594"/>
              <a:gd name="T95" fmla="*/ 424 h 627"/>
              <a:gd name="T96" fmla="*/ 594 w 594"/>
              <a:gd name="T97" fmla="*/ 422 h 627"/>
              <a:gd name="T98" fmla="*/ 103 w 594"/>
              <a:gd name="T99" fmla="*/ 66 h 627"/>
              <a:gd name="T100" fmla="*/ 17 w 594"/>
              <a:gd name="T101" fmla="*/ 306 h 627"/>
              <a:gd name="T102" fmla="*/ 103 w 594"/>
              <a:gd name="T103" fmla="*/ 353 h 627"/>
              <a:gd name="T104" fmla="*/ 185 w 594"/>
              <a:gd name="T105" fmla="*/ 320 h 627"/>
              <a:gd name="T106" fmla="*/ 442 w 594"/>
              <a:gd name="T107" fmla="*/ 613 h 627"/>
              <a:gd name="T108" fmla="*/ 182 w 594"/>
              <a:gd name="T109" fmla="*/ 592 h 627"/>
              <a:gd name="T110" fmla="*/ 442 w 594"/>
              <a:gd name="T111" fmla="*/ 613 h 627"/>
              <a:gd name="T112" fmla="*/ 280 w 594"/>
              <a:gd name="T113" fmla="*/ 99 h 627"/>
              <a:gd name="T114" fmla="*/ 315 w 594"/>
              <a:gd name="T115" fmla="*/ 99 h 627"/>
              <a:gd name="T116" fmla="*/ 577 w 594"/>
              <a:gd name="T117" fmla="*/ 413 h 627"/>
              <a:gd name="T118" fmla="*/ 492 w 594"/>
              <a:gd name="T119" fmla="*/ 173 h 627"/>
              <a:gd name="T120" fmla="*/ 491 w 594"/>
              <a:gd name="T121" fmla="*/ 460 h 627"/>
              <a:gd name="T122" fmla="*/ 573 w 594"/>
              <a:gd name="T123" fmla="*/ 427 h 6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4" h="627">
                <a:moveTo>
                  <a:pt x="594" y="422"/>
                </a:moveTo>
                <a:cubicBezTo>
                  <a:pt x="594" y="422"/>
                  <a:pt x="594" y="421"/>
                  <a:pt x="594" y="421"/>
                </a:cubicBezTo>
                <a:cubicBezTo>
                  <a:pt x="594" y="421"/>
                  <a:pt x="594" y="421"/>
                  <a:pt x="594" y="420"/>
                </a:cubicBezTo>
                <a:cubicBezTo>
                  <a:pt x="594" y="420"/>
                  <a:pt x="594" y="420"/>
                  <a:pt x="594" y="420"/>
                </a:cubicBezTo>
                <a:cubicBezTo>
                  <a:pt x="594" y="420"/>
                  <a:pt x="594" y="420"/>
                  <a:pt x="594" y="419"/>
                </a:cubicBezTo>
                <a:cubicBezTo>
                  <a:pt x="594" y="419"/>
                  <a:pt x="594" y="419"/>
                  <a:pt x="594" y="419"/>
                </a:cubicBezTo>
                <a:cubicBezTo>
                  <a:pt x="594" y="419"/>
                  <a:pt x="594" y="418"/>
                  <a:pt x="594" y="418"/>
                </a:cubicBezTo>
                <a:cubicBezTo>
                  <a:pt x="594" y="418"/>
                  <a:pt x="594" y="418"/>
                  <a:pt x="594" y="418"/>
                </a:cubicBezTo>
                <a:cubicBezTo>
                  <a:pt x="499" y="149"/>
                  <a:pt x="499" y="149"/>
                  <a:pt x="499" y="149"/>
                </a:cubicBezTo>
                <a:cubicBezTo>
                  <a:pt x="499" y="149"/>
                  <a:pt x="499" y="149"/>
                  <a:pt x="499" y="149"/>
                </a:cubicBezTo>
                <a:cubicBezTo>
                  <a:pt x="498" y="149"/>
                  <a:pt x="498" y="148"/>
                  <a:pt x="498" y="148"/>
                </a:cubicBezTo>
                <a:cubicBezTo>
                  <a:pt x="498" y="148"/>
                  <a:pt x="498" y="148"/>
                  <a:pt x="498" y="147"/>
                </a:cubicBezTo>
                <a:cubicBezTo>
                  <a:pt x="497" y="147"/>
                  <a:pt x="497" y="147"/>
                  <a:pt x="496" y="146"/>
                </a:cubicBezTo>
                <a:cubicBezTo>
                  <a:pt x="496" y="146"/>
                  <a:pt x="496" y="146"/>
                  <a:pt x="496" y="146"/>
                </a:cubicBezTo>
                <a:cubicBezTo>
                  <a:pt x="495" y="146"/>
                  <a:pt x="495" y="145"/>
                  <a:pt x="494" y="145"/>
                </a:cubicBezTo>
                <a:cubicBezTo>
                  <a:pt x="494" y="145"/>
                  <a:pt x="494" y="145"/>
                  <a:pt x="494" y="145"/>
                </a:cubicBezTo>
                <a:cubicBezTo>
                  <a:pt x="494" y="145"/>
                  <a:pt x="494" y="145"/>
                  <a:pt x="494" y="145"/>
                </a:cubicBezTo>
                <a:cubicBezTo>
                  <a:pt x="329" y="100"/>
                  <a:pt x="329" y="100"/>
                  <a:pt x="329" y="100"/>
                </a:cubicBezTo>
                <a:cubicBezTo>
                  <a:pt x="329" y="100"/>
                  <a:pt x="329" y="99"/>
                  <a:pt x="329" y="99"/>
                </a:cubicBezTo>
                <a:cubicBezTo>
                  <a:pt x="329" y="84"/>
                  <a:pt x="319" y="72"/>
                  <a:pt x="305" y="68"/>
                </a:cubicBezTo>
                <a:cubicBezTo>
                  <a:pt x="305" y="7"/>
                  <a:pt x="305" y="7"/>
                  <a:pt x="305" y="7"/>
                </a:cubicBezTo>
                <a:cubicBezTo>
                  <a:pt x="305" y="3"/>
                  <a:pt x="302" y="0"/>
                  <a:pt x="298" y="0"/>
                </a:cubicBezTo>
                <a:cubicBezTo>
                  <a:pt x="294" y="0"/>
                  <a:pt x="291" y="3"/>
                  <a:pt x="291" y="7"/>
                </a:cubicBezTo>
                <a:cubicBezTo>
                  <a:pt x="291" y="68"/>
                  <a:pt x="291" y="68"/>
                  <a:pt x="291" y="68"/>
                </a:cubicBezTo>
                <a:cubicBezTo>
                  <a:pt x="282" y="70"/>
                  <a:pt x="275" y="76"/>
                  <a:pt x="270" y="84"/>
                </a:cubicBezTo>
                <a:cubicBezTo>
                  <a:pt x="105" y="39"/>
                  <a:pt x="105" y="39"/>
                  <a:pt x="105" y="39"/>
                </a:cubicBezTo>
                <a:cubicBezTo>
                  <a:pt x="104" y="39"/>
                  <a:pt x="104" y="39"/>
                  <a:pt x="103" y="39"/>
                </a:cubicBezTo>
                <a:cubicBezTo>
                  <a:pt x="103" y="39"/>
                  <a:pt x="103" y="38"/>
                  <a:pt x="103" y="38"/>
                </a:cubicBezTo>
                <a:cubicBezTo>
                  <a:pt x="103" y="38"/>
                  <a:pt x="103" y="39"/>
                  <a:pt x="103" y="39"/>
                </a:cubicBezTo>
                <a:cubicBezTo>
                  <a:pt x="102" y="39"/>
                  <a:pt x="102" y="39"/>
                  <a:pt x="101" y="39"/>
                </a:cubicBezTo>
                <a:cubicBezTo>
                  <a:pt x="101" y="39"/>
                  <a:pt x="101" y="39"/>
                  <a:pt x="101" y="39"/>
                </a:cubicBezTo>
                <a:cubicBezTo>
                  <a:pt x="100" y="39"/>
                  <a:pt x="100" y="39"/>
                  <a:pt x="99" y="40"/>
                </a:cubicBezTo>
                <a:cubicBezTo>
                  <a:pt x="99" y="40"/>
                  <a:pt x="99" y="40"/>
                  <a:pt x="99" y="40"/>
                </a:cubicBezTo>
                <a:cubicBezTo>
                  <a:pt x="98" y="40"/>
                  <a:pt x="98" y="41"/>
                  <a:pt x="97" y="41"/>
                </a:cubicBezTo>
                <a:cubicBezTo>
                  <a:pt x="97" y="41"/>
                  <a:pt x="97" y="41"/>
                  <a:pt x="97" y="41"/>
                </a:cubicBezTo>
                <a:cubicBezTo>
                  <a:pt x="97" y="42"/>
                  <a:pt x="97" y="42"/>
                  <a:pt x="97" y="43"/>
                </a:cubicBezTo>
                <a:cubicBezTo>
                  <a:pt x="97" y="43"/>
                  <a:pt x="96" y="43"/>
                  <a:pt x="96" y="43"/>
                </a:cubicBezTo>
                <a:cubicBezTo>
                  <a:pt x="1" y="310"/>
                  <a:pt x="1" y="310"/>
                  <a:pt x="1" y="310"/>
                </a:cubicBezTo>
                <a:cubicBezTo>
                  <a:pt x="0" y="310"/>
                  <a:pt x="0" y="310"/>
                  <a:pt x="0" y="311"/>
                </a:cubicBezTo>
                <a:cubicBezTo>
                  <a:pt x="0" y="311"/>
                  <a:pt x="0" y="311"/>
                  <a:pt x="0" y="311"/>
                </a:cubicBezTo>
                <a:cubicBezTo>
                  <a:pt x="0" y="312"/>
                  <a:pt x="0" y="312"/>
                  <a:pt x="0" y="312"/>
                </a:cubicBezTo>
                <a:cubicBezTo>
                  <a:pt x="0" y="312"/>
                  <a:pt x="0" y="312"/>
                  <a:pt x="0" y="313"/>
                </a:cubicBezTo>
                <a:cubicBezTo>
                  <a:pt x="0" y="313"/>
                  <a:pt x="0" y="313"/>
                  <a:pt x="0" y="313"/>
                </a:cubicBezTo>
                <a:cubicBezTo>
                  <a:pt x="0" y="313"/>
                  <a:pt x="0" y="313"/>
                  <a:pt x="0" y="314"/>
                </a:cubicBezTo>
                <a:cubicBezTo>
                  <a:pt x="0" y="314"/>
                  <a:pt x="0" y="314"/>
                  <a:pt x="0" y="314"/>
                </a:cubicBezTo>
                <a:cubicBezTo>
                  <a:pt x="0" y="315"/>
                  <a:pt x="1" y="315"/>
                  <a:pt x="1" y="315"/>
                </a:cubicBezTo>
                <a:cubicBezTo>
                  <a:pt x="1" y="315"/>
                  <a:pt x="1" y="316"/>
                  <a:pt x="1" y="316"/>
                </a:cubicBezTo>
                <a:cubicBezTo>
                  <a:pt x="1" y="316"/>
                  <a:pt x="1" y="316"/>
                  <a:pt x="1" y="316"/>
                </a:cubicBezTo>
                <a:cubicBezTo>
                  <a:pt x="1" y="316"/>
                  <a:pt x="1" y="316"/>
                  <a:pt x="1" y="316"/>
                </a:cubicBezTo>
                <a:cubicBezTo>
                  <a:pt x="1" y="316"/>
                  <a:pt x="1" y="316"/>
                  <a:pt x="1" y="316"/>
                </a:cubicBezTo>
                <a:cubicBezTo>
                  <a:pt x="21" y="347"/>
                  <a:pt x="60" y="367"/>
                  <a:pt x="103" y="367"/>
                </a:cubicBezTo>
                <a:cubicBezTo>
                  <a:pt x="146" y="367"/>
                  <a:pt x="185" y="347"/>
                  <a:pt x="205" y="316"/>
                </a:cubicBezTo>
                <a:cubicBezTo>
                  <a:pt x="205" y="316"/>
                  <a:pt x="205" y="316"/>
                  <a:pt x="205" y="316"/>
                </a:cubicBezTo>
                <a:cubicBezTo>
                  <a:pt x="205" y="316"/>
                  <a:pt x="205" y="316"/>
                  <a:pt x="205" y="316"/>
                </a:cubicBezTo>
                <a:cubicBezTo>
                  <a:pt x="205" y="316"/>
                  <a:pt x="205" y="316"/>
                  <a:pt x="205" y="316"/>
                </a:cubicBezTo>
                <a:cubicBezTo>
                  <a:pt x="205" y="316"/>
                  <a:pt x="205" y="315"/>
                  <a:pt x="205" y="315"/>
                </a:cubicBezTo>
                <a:cubicBezTo>
                  <a:pt x="205" y="315"/>
                  <a:pt x="206" y="315"/>
                  <a:pt x="206" y="314"/>
                </a:cubicBezTo>
                <a:cubicBezTo>
                  <a:pt x="206" y="314"/>
                  <a:pt x="206" y="314"/>
                  <a:pt x="206" y="314"/>
                </a:cubicBezTo>
                <a:cubicBezTo>
                  <a:pt x="206" y="313"/>
                  <a:pt x="206" y="313"/>
                  <a:pt x="206" y="313"/>
                </a:cubicBezTo>
                <a:cubicBezTo>
                  <a:pt x="206" y="313"/>
                  <a:pt x="206" y="313"/>
                  <a:pt x="206" y="313"/>
                </a:cubicBezTo>
                <a:cubicBezTo>
                  <a:pt x="206" y="312"/>
                  <a:pt x="206" y="312"/>
                  <a:pt x="206" y="312"/>
                </a:cubicBezTo>
                <a:cubicBezTo>
                  <a:pt x="206" y="312"/>
                  <a:pt x="206" y="312"/>
                  <a:pt x="206" y="311"/>
                </a:cubicBezTo>
                <a:cubicBezTo>
                  <a:pt x="206" y="311"/>
                  <a:pt x="206" y="311"/>
                  <a:pt x="206" y="311"/>
                </a:cubicBezTo>
                <a:cubicBezTo>
                  <a:pt x="206" y="310"/>
                  <a:pt x="206" y="310"/>
                  <a:pt x="205" y="310"/>
                </a:cubicBezTo>
                <a:cubicBezTo>
                  <a:pt x="114" y="56"/>
                  <a:pt x="114" y="56"/>
                  <a:pt x="114" y="56"/>
                </a:cubicBezTo>
                <a:cubicBezTo>
                  <a:pt x="266" y="97"/>
                  <a:pt x="266" y="97"/>
                  <a:pt x="266" y="97"/>
                </a:cubicBezTo>
                <a:cubicBezTo>
                  <a:pt x="266" y="98"/>
                  <a:pt x="266" y="99"/>
                  <a:pt x="266" y="99"/>
                </a:cubicBezTo>
                <a:cubicBezTo>
                  <a:pt x="266" y="114"/>
                  <a:pt x="277" y="127"/>
                  <a:pt x="291" y="130"/>
                </a:cubicBezTo>
                <a:cubicBezTo>
                  <a:pt x="291" y="578"/>
                  <a:pt x="291" y="578"/>
                  <a:pt x="291" y="578"/>
                </a:cubicBezTo>
                <a:cubicBezTo>
                  <a:pt x="182" y="578"/>
                  <a:pt x="182" y="578"/>
                  <a:pt x="182" y="578"/>
                </a:cubicBezTo>
                <a:cubicBezTo>
                  <a:pt x="158" y="578"/>
                  <a:pt x="139" y="597"/>
                  <a:pt x="139" y="620"/>
                </a:cubicBezTo>
                <a:cubicBezTo>
                  <a:pt x="139" y="624"/>
                  <a:pt x="142" y="627"/>
                  <a:pt x="146" y="627"/>
                </a:cubicBezTo>
                <a:cubicBezTo>
                  <a:pt x="450" y="627"/>
                  <a:pt x="450" y="627"/>
                  <a:pt x="450" y="627"/>
                </a:cubicBezTo>
                <a:cubicBezTo>
                  <a:pt x="454" y="627"/>
                  <a:pt x="457" y="624"/>
                  <a:pt x="457" y="620"/>
                </a:cubicBezTo>
                <a:cubicBezTo>
                  <a:pt x="457" y="597"/>
                  <a:pt x="437" y="578"/>
                  <a:pt x="414" y="578"/>
                </a:cubicBezTo>
                <a:cubicBezTo>
                  <a:pt x="305" y="578"/>
                  <a:pt x="305" y="578"/>
                  <a:pt x="305" y="578"/>
                </a:cubicBezTo>
                <a:cubicBezTo>
                  <a:pt x="305" y="130"/>
                  <a:pt x="305" y="130"/>
                  <a:pt x="305" y="130"/>
                </a:cubicBezTo>
                <a:cubicBezTo>
                  <a:pt x="314" y="128"/>
                  <a:pt x="322" y="122"/>
                  <a:pt x="326" y="114"/>
                </a:cubicBezTo>
                <a:cubicBezTo>
                  <a:pt x="483" y="157"/>
                  <a:pt x="483" y="157"/>
                  <a:pt x="483" y="157"/>
                </a:cubicBezTo>
                <a:cubicBezTo>
                  <a:pt x="389" y="418"/>
                  <a:pt x="389" y="418"/>
                  <a:pt x="389" y="418"/>
                </a:cubicBezTo>
                <a:cubicBezTo>
                  <a:pt x="389" y="418"/>
                  <a:pt x="389" y="418"/>
                  <a:pt x="389" y="418"/>
                </a:cubicBezTo>
                <a:cubicBezTo>
                  <a:pt x="389" y="418"/>
                  <a:pt x="389" y="419"/>
                  <a:pt x="389" y="419"/>
                </a:cubicBezTo>
                <a:cubicBezTo>
                  <a:pt x="389" y="419"/>
                  <a:pt x="389" y="419"/>
                  <a:pt x="389" y="419"/>
                </a:cubicBezTo>
                <a:cubicBezTo>
                  <a:pt x="389" y="420"/>
                  <a:pt x="388" y="420"/>
                  <a:pt x="388" y="420"/>
                </a:cubicBezTo>
                <a:cubicBezTo>
                  <a:pt x="388" y="420"/>
                  <a:pt x="389" y="420"/>
                  <a:pt x="389" y="420"/>
                </a:cubicBezTo>
                <a:cubicBezTo>
                  <a:pt x="389" y="421"/>
                  <a:pt x="389" y="421"/>
                  <a:pt x="389" y="421"/>
                </a:cubicBezTo>
                <a:cubicBezTo>
                  <a:pt x="389" y="421"/>
                  <a:pt x="389" y="422"/>
                  <a:pt x="389" y="422"/>
                </a:cubicBezTo>
                <a:cubicBezTo>
                  <a:pt x="389" y="422"/>
                  <a:pt x="389" y="422"/>
                  <a:pt x="389" y="422"/>
                </a:cubicBezTo>
                <a:cubicBezTo>
                  <a:pt x="389" y="423"/>
                  <a:pt x="389" y="423"/>
                  <a:pt x="389" y="423"/>
                </a:cubicBezTo>
                <a:cubicBezTo>
                  <a:pt x="389" y="423"/>
                  <a:pt x="389" y="424"/>
                  <a:pt x="390" y="424"/>
                </a:cubicBezTo>
                <a:cubicBezTo>
                  <a:pt x="390" y="424"/>
                  <a:pt x="390" y="424"/>
                  <a:pt x="390" y="424"/>
                </a:cubicBezTo>
                <a:cubicBezTo>
                  <a:pt x="390" y="424"/>
                  <a:pt x="390" y="424"/>
                  <a:pt x="390" y="424"/>
                </a:cubicBezTo>
                <a:cubicBezTo>
                  <a:pt x="409" y="455"/>
                  <a:pt x="448" y="474"/>
                  <a:pt x="491" y="474"/>
                </a:cubicBezTo>
                <a:cubicBezTo>
                  <a:pt x="534" y="474"/>
                  <a:pt x="573" y="455"/>
                  <a:pt x="593" y="424"/>
                </a:cubicBezTo>
                <a:cubicBezTo>
                  <a:pt x="593" y="424"/>
                  <a:pt x="593" y="424"/>
                  <a:pt x="593" y="424"/>
                </a:cubicBezTo>
                <a:cubicBezTo>
                  <a:pt x="593" y="424"/>
                  <a:pt x="593" y="424"/>
                  <a:pt x="593" y="424"/>
                </a:cubicBezTo>
                <a:cubicBezTo>
                  <a:pt x="593" y="424"/>
                  <a:pt x="593" y="423"/>
                  <a:pt x="593" y="423"/>
                </a:cubicBezTo>
                <a:cubicBezTo>
                  <a:pt x="593" y="423"/>
                  <a:pt x="594" y="423"/>
                  <a:pt x="594" y="422"/>
                </a:cubicBezTo>
                <a:cubicBezTo>
                  <a:pt x="594" y="422"/>
                  <a:pt x="594" y="422"/>
                  <a:pt x="594" y="422"/>
                </a:cubicBezTo>
                <a:close/>
                <a:moveTo>
                  <a:pt x="103" y="66"/>
                </a:moveTo>
                <a:cubicBezTo>
                  <a:pt x="189" y="306"/>
                  <a:pt x="189" y="306"/>
                  <a:pt x="189" y="306"/>
                </a:cubicBezTo>
                <a:cubicBezTo>
                  <a:pt x="17" y="306"/>
                  <a:pt x="17" y="306"/>
                  <a:pt x="17" y="306"/>
                </a:cubicBezTo>
                <a:lnTo>
                  <a:pt x="103" y="66"/>
                </a:lnTo>
                <a:close/>
                <a:moveTo>
                  <a:pt x="103" y="353"/>
                </a:moveTo>
                <a:cubicBezTo>
                  <a:pt x="70" y="353"/>
                  <a:pt x="40" y="340"/>
                  <a:pt x="21" y="320"/>
                </a:cubicBezTo>
                <a:cubicBezTo>
                  <a:pt x="185" y="320"/>
                  <a:pt x="185" y="320"/>
                  <a:pt x="185" y="320"/>
                </a:cubicBezTo>
                <a:cubicBezTo>
                  <a:pt x="166" y="340"/>
                  <a:pt x="136" y="353"/>
                  <a:pt x="103" y="353"/>
                </a:cubicBezTo>
                <a:close/>
                <a:moveTo>
                  <a:pt x="442" y="613"/>
                </a:moveTo>
                <a:cubicBezTo>
                  <a:pt x="154" y="613"/>
                  <a:pt x="154" y="613"/>
                  <a:pt x="154" y="613"/>
                </a:cubicBezTo>
                <a:cubicBezTo>
                  <a:pt x="157" y="601"/>
                  <a:pt x="168" y="592"/>
                  <a:pt x="182" y="592"/>
                </a:cubicBezTo>
                <a:cubicBezTo>
                  <a:pt x="414" y="592"/>
                  <a:pt x="414" y="592"/>
                  <a:pt x="414" y="592"/>
                </a:cubicBezTo>
                <a:cubicBezTo>
                  <a:pt x="427" y="592"/>
                  <a:pt x="439" y="601"/>
                  <a:pt x="442" y="613"/>
                </a:cubicBezTo>
                <a:close/>
                <a:moveTo>
                  <a:pt x="298" y="117"/>
                </a:moveTo>
                <a:cubicBezTo>
                  <a:pt x="288" y="117"/>
                  <a:pt x="280" y="109"/>
                  <a:pt x="280" y="99"/>
                </a:cubicBezTo>
                <a:cubicBezTo>
                  <a:pt x="280" y="90"/>
                  <a:pt x="288" y="82"/>
                  <a:pt x="298" y="82"/>
                </a:cubicBezTo>
                <a:cubicBezTo>
                  <a:pt x="308" y="82"/>
                  <a:pt x="315" y="90"/>
                  <a:pt x="315" y="99"/>
                </a:cubicBezTo>
                <a:cubicBezTo>
                  <a:pt x="315" y="109"/>
                  <a:pt x="308" y="117"/>
                  <a:pt x="298" y="117"/>
                </a:cubicBezTo>
                <a:close/>
                <a:moveTo>
                  <a:pt x="577" y="413"/>
                </a:moveTo>
                <a:cubicBezTo>
                  <a:pt x="405" y="413"/>
                  <a:pt x="405" y="413"/>
                  <a:pt x="405" y="413"/>
                </a:cubicBezTo>
                <a:cubicBezTo>
                  <a:pt x="492" y="173"/>
                  <a:pt x="492" y="173"/>
                  <a:pt x="492" y="173"/>
                </a:cubicBezTo>
                <a:lnTo>
                  <a:pt x="577" y="413"/>
                </a:lnTo>
                <a:close/>
                <a:moveTo>
                  <a:pt x="491" y="460"/>
                </a:moveTo>
                <a:cubicBezTo>
                  <a:pt x="458" y="460"/>
                  <a:pt x="428" y="448"/>
                  <a:pt x="410" y="427"/>
                </a:cubicBezTo>
                <a:cubicBezTo>
                  <a:pt x="573" y="427"/>
                  <a:pt x="573" y="427"/>
                  <a:pt x="573" y="427"/>
                </a:cubicBezTo>
                <a:cubicBezTo>
                  <a:pt x="554" y="448"/>
                  <a:pt x="524" y="460"/>
                  <a:pt x="491" y="46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A03AF5BE-C143-4EE4-A596-8E538E957EC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chaine étapes</a:t>
            </a:r>
          </a:p>
        </p:txBody>
      </p:sp>
    </p:spTree>
    <p:extLst>
      <p:ext uri="{BB962C8B-B14F-4D97-AF65-F5344CB8AC3E}">
        <p14:creationId xmlns:p14="http://schemas.microsoft.com/office/powerpoint/2010/main" val="3285234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4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4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4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1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1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2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2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2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2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F2436F0-E88F-4339-A2EA-A17F3993F5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F2436F0-E88F-4339-A2EA-A17F3993F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5006E29-5433-41D8-8589-376E432E19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4544BA5-880C-4C9A-9390-99A3BE9A662F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0323871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fr-FR" sz="3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kumimoji="0" lang="fr-FR" sz="3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799FD644-1DC1-4166-8B30-38B139F7E385}"/>
              </a:ext>
            </a:extLst>
          </p:cNvPr>
          <p:cNvSpPr txBox="1">
            <a:spLocks/>
          </p:cNvSpPr>
          <p:nvPr/>
        </p:nvSpPr>
        <p:spPr>
          <a:xfrm>
            <a:off x="307151" y="64008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8207D7A-5CCD-454B-BD3E-0E7DD89ACF1D}"/>
              </a:ext>
            </a:extLst>
          </p:cNvPr>
          <p:cNvSpPr txBox="1"/>
          <p:nvPr/>
        </p:nvSpPr>
        <p:spPr>
          <a:xfrm>
            <a:off x="101602" y="1676400"/>
            <a:ext cx="119761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>
                <a:solidFill>
                  <a:srgbClr val="1F497D"/>
                </a:solidFill>
              </a:rPr>
              <a:t>Merci</a:t>
            </a:r>
          </a:p>
          <a:p>
            <a:pPr algn="ctr"/>
            <a:endParaRPr lang="en-US" sz="4400" b="1" dirty="0">
              <a:solidFill>
                <a:srgbClr val="1F497D"/>
              </a:solidFill>
            </a:endParaRPr>
          </a:p>
          <a:p>
            <a:pPr algn="ctr"/>
            <a:r>
              <a:rPr lang="fr-FR" sz="3600" dirty="0">
                <a:solidFill>
                  <a:srgbClr val="1F497D"/>
                </a:solidFill>
              </a:rPr>
              <a:t>Questions et discussions </a:t>
            </a:r>
            <a:endParaRPr lang="fr-FR" sz="4400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208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:a16="http://schemas.microsoft.com/office/drawing/2014/main" id="{B11F2C51-6165-4A2B-B3B1-257375FB93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4110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2">
            <a:extLst>
              <a:ext uri="{FF2B5EF4-FFF2-40B4-BE49-F238E27FC236}">
                <a16:creationId xmlns:a16="http://schemas.microsoft.com/office/drawing/2014/main" id="{3C49AE0C-8A33-44B4-8B61-E3510E9CAB6A}"/>
              </a:ext>
            </a:extLst>
          </p:cNvPr>
          <p:cNvSpPr txBox="1">
            <a:spLocks/>
          </p:cNvSpPr>
          <p:nvPr/>
        </p:nvSpPr>
        <p:spPr>
          <a:xfrm>
            <a:off x="227105" y="71515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ources de données pour la cartographie des ressources</a:t>
            </a:r>
          </a:p>
        </p:txBody>
      </p:sp>
      <p:pic>
        <p:nvPicPr>
          <p:cNvPr id="4" name="Graphic 3" descr="Family with two children with solid fill">
            <a:extLst>
              <a:ext uri="{FF2B5EF4-FFF2-40B4-BE49-F238E27FC236}">
                <a16:creationId xmlns:a16="http://schemas.microsoft.com/office/drawing/2014/main" id="{26BDEACA-A919-4BBE-B219-F560052608B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247064" y="1330957"/>
            <a:ext cx="1828800" cy="1828800"/>
          </a:xfrm>
          <a:prstGeom prst="rect">
            <a:avLst/>
          </a:prstGeom>
        </p:spPr>
      </p:pic>
      <p:pic>
        <p:nvPicPr>
          <p:cNvPr id="13" name="Graphic 12" descr="Bank with solid fill">
            <a:extLst>
              <a:ext uri="{FF2B5EF4-FFF2-40B4-BE49-F238E27FC236}">
                <a16:creationId xmlns:a16="http://schemas.microsoft.com/office/drawing/2014/main" id="{B0CFA99A-B2E9-44E0-98A0-C9ED56A7E45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36566" y="1330957"/>
            <a:ext cx="1828800" cy="1828800"/>
          </a:xfrm>
          <a:prstGeom prst="rect">
            <a:avLst/>
          </a:prstGeom>
        </p:spPr>
      </p:pic>
      <p:pic>
        <p:nvPicPr>
          <p:cNvPr id="14" name="Graphic 13" descr="Neighborhood with solid fill">
            <a:extLst>
              <a:ext uri="{FF2B5EF4-FFF2-40B4-BE49-F238E27FC236}">
                <a16:creationId xmlns:a16="http://schemas.microsoft.com/office/drawing/2014/main" id="{758D39CB-D574-44EA-B2A7-65109F57251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157995" y="4020055"/>
            <a:ext cx="1828800" cy="1828800"/>
          </a:xfrm>
          <a:prstGeom prst="rect">
            <a:avLst/>
          </a:prstGeom>
        </p:spPr>
      </p:pic>
      <p:pic>
        <p:nvPicPr>
          <p:cNvPr id="15" name="Graphic 14" descr="City with solid fill">
            <a:extLst>
              <a:ext uri="{FF2B5EF4-FFF2-40B4-BE49-F238E27FC236}">
                <a16:creationId xmlns:a16="http://schemas.microsoft.com/office/drawing/2014/main" id="{5970A3F4-8890-47EA-98F7-AAE784BD48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190350" y="4020055"/>
            <a:ext cx="1828800" cy="1828800"/>
          </a:xfrm>
          <a:prstGeom prst="rect">
            <a:avLst/>
          </a:prstGeom>
        </p:spPr>
      </p:pic>
      <p:pic>
        <p:nvPicPr>
          <p:cNvPr id="16" name="Graphic 15" descr="Handshake with solid fill">
            <a:extLst>
              <a:ext uri="{FF2B5EF4-FFF2-40B4-BE49-F238E27FC236}">
                <a16:creationId xmlns:a16="http://schemas.microsoft.com/office/drawing/2014/main" id="{B07743C4-ED1F-4ED0-B688-902E2CDE620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241815" y="1330957"/>
            <a:ext cx="1828800" cy="182880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999E3BDC-5511-4799-B7B9-514B201A5900}"/>
              </a:ext>
            </a:extLst>
          </p:cNvPr>
          <p:cNvSpPr txBox="1">
            <a:spLocks noChangeAspect="1"/>
          </p:cNvSpPr>
          <p:nvPr/>
        </p:nvSpPr>
        <p:spPr>
          <a:xfrm>
            <a:off x="4430831" y="3159757"/>
            <a:ext cx="3450768" cy="701474"/>
          </a:xfrm>
          <a:prstGeom prst="rect">
            <a:avLst/>
          </a:prstGeom>
          <a:solidFill>
            <a:srgbClr val="F79646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Ressources des partenaires techniques et financiers (PTF)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EF63F7D-6FC7-465E-B518-1712B9A1318A}"/>
              </a:ext>
            </a:extLst>
          </p:cNvPr>
          <p:cNvSpPr txBox="1">
            <a:spLocks noChangeAspect="1"/>
          </p:cNvSpPr>
          <p:nvPr/>
        </p:nvSpPr>
        <p:spPr>
          <a:xfrm>
            <a:off x="425582" y="3162152"/>
            <a:ext cx="3450768" cy="701474"/>
          </a:xfrm>
          <a:prstGeom prst="rect">
            <a:avLst/>
          </a:prstGeom>
          <a:solidFill>
            <a:srgbClr val="4F81BD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Ressources Publiques de l’Etat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F6B58045-CC24-428A-8473-31F0A51C9F44}"/>
              </a:ext>
            </a:extLst>
          </p:cNvPr>
          <p:cNvSpPr txBox="1">
            <a:spLocks noChangeAspect="1"/>
          </p:cNvSpPr>
          <p:nvPr/>
        </p:nvSpPr>
        <p:spPr>
          <a:xfrm>
            <a:off x="8436080" y="3162988"/>
            <a:ext cx="3450768" cy="701474"/>
          </a:xfrm>
          <a:prstGeom prst="rect">
            <a:avLst/>
          </a:prstGeom>
          <a:solidFill>
            <a:srgbClr val="FFC90D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Ressources des ménages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CCA23AB-83CE-42C6-9359-1C664C6FDC79}"/>
              </a:ext>
            </a:extLst>
          </p:cNvPr>
          <p:cNvSpPr txBox="1">
            <a:spLocks noChangeAspect="1"/>
          </p:cNvSpPr>
          <p:nvPr/>
        </p:nvSpPr>
        <p:spPr>
          <a:xfrm>
            <a:off x="2379366" y="5830310"/>
            <a:ext cx="3450768" cy="701474"/>
          </a:xfrm>
          <a:prstGeom prst="rect">
            <a:avLst/>
          </a:prstGeom>
          <a:solidFill>
            <a:srgbClr val="1F497D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Ressources du secteur privé</a:t>
            </a:r>
            <a:endParaRPr lang="en-US" sz="2000" b="1" dirty="0">
              <a:solidFill>
                <a:schemeClr val="bg1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6CDAEB3-59CD-4B47-90FB-6254A63F8118}"/>
              </a:ext>
            </a:extLst>
          </p:cNvPr>
          <p:cNvSpPr txBox="1">
            <a:spLocks noChangeAspect="1"/>
          </p:cNvSpPr>
          <p:nvPr/>
        </p:nvSpPr>
        <p:spPr>
          <a:xfrm>
            <a:off x="6347011" y="5848855"/>
            <a:ext cx="3450768" cy="701474"/>
          </a:xfrm>
          <a:prstGeom prst="rect">
            <a:avLst/>
          </a:prstGeom>
          <a:solidFill>
            <a:srgbClr val="969696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2000" b="1" dirty="0">
                <a:solidFill>
                  <a:schemeClr val="bg1"/>
                </a:solidFill>
              </a:rPr>
              <a:t>Ressources des collectivités territoriales 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6883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 descr="Bank with solid fill">
            <a:extLst>
              <a:ext uri="{FF2B5EF4-FFF2-40B4-BE49-F238E27FC236}">
                <a16:creationId xmlns:a16="http://schemas.microsoft.com/office/drawing/2014/main" id="{B04D4440-003B-4CBA-8998-8F6CF2AD331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8958" y="1061742"/>
            <a:ext cx="1371600" cy="13716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3C31782-F3F2-4962-9D18-27BDB0B8C581}"/>
              </a:ext>
            </a:extLst>
          </p:cNvPr>
          <p:cNvSpPr txBox="1">
            <a:spLocks noChangeAspect="1"/>
          </p:cNvSpPr>
          <p:nvPr/>
        </p:nvSpPr>
        <p:spPr>
          <a:xfrm>
            <a:off x="357849" y="2475824"/>
            <a:ext cx="2393818" cy="486617"/>
          </a:xfrm>
          <a:prstGeom prst="rect">
            <a:avLst/>
          </a:prstGeom>
          <a:solidFill>
            <a:srgbClr val="4F81BD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Ressources Publiques de l’Etat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F84F3AB6-7BF5-46B2-A752-33CA27041677}"/>
              </a:ext>
            </a:extLst>
          </p:cNvPr>
          <p:cNvGrpSpPr/>
          <p:nvPr/>
        </p:nvGrpSpPr>
        <p:grpSpPr>
          <a:xfrm>
            <a:off x="3023317" y="1180992"/>
            <a:ext cx="8962418" cy="5374034"/>
            <a:chOff x="413707" y="1447800"/>
            <a:chExt cx="8314619" cy="4886324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C22CE78-09F6-45EC-9268-9A93DB7F4BE0}"/>
                </a:ext>
              </a:extLst>
            </p:cNvPr>
            <p:cNvCxnSpPr/>
            <p:nvPr/>
          </p:nvCxnSpPr>
          <p:spPr>
            <a:xfrm>
              <a:off x="415926" y="262512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3044F23-A043-4CD4-A9D5-7B74EEFC8C89}"/>
                </a:ext>
              </a:extLst>
            </p:cNvPr>
            <p:cNvGrpSpPr/>
            <p:nvPr/>
          </p:nvGrpSpPr>
          <p:grpSpPr>
            <a:xfrm>
              <a:off x="415926" y="2713640"/>
              <a:ext cx="8310182" cy="1867308"/>
              <a:chOff x="415926" y="4119747"/>
              <a:chExt cx="8310182" cy="3781338"/>
            </a:xfrm>
          </p:grpSpPr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96932803-2A95-4399-9DDE-510C7F7712EC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37813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Méthodologie et hypothèses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9CB1DC6D-D3DC-4523-975D-D20DC616D2B3}"/>
                  </a:ext>
                </a:extLst>
              </p:cNvPr>
              <p:cNvSpPr/>
              <p:nvPr/>
            </p:nvSpPr>
            <p:spPr>
              <a:xfrm>
                <a:off x="1981201" y="4119747"/>
                <a:ext cx="6744907" cy="37510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Catégorisation des données : </a:t>
                </a:r>
              </a:p>
              <a:p>
                <a:pPr marL="742950" lvl="1" indent="-285750">
                  <a:buFont typeface="Courier New" panose="02070309020205020404" pitchFamily="49" charset="0"/>
                  <a:buChar char="o"/>
                </a:pPr>
                <a:r>
                  <a:rPr lang="fr-FR" dirty="0">
                    <a:solidFill>
                      <a:schemeClr val="tx1"/>
                    </a:solidFill>
                  </a:rPr>
                  <a:t>Programme budgétaire aux Orientations stratégiques</a:t>
                </a:r>
              </a:p>
              <a:p>
                <a:pPr marL="742950" lvl="1" indent="-285750">
                  <a:buFont typeface="Courier New" panose="02070309020205020404" pitchFamily="49" charset="0"/>
                  <a:buChar char="o"/>
                </a:pPr>
                <a:r>
                  <a:rPr lang="fr-FR" dirty="0">
                    <a:solidFill>
                      <a:schemeClr val="tx1"/>
                    </a:solidFill>
                  </a:rPr>
                  <a:t>Catégories budgétaires aux catégories de coûts</a:t>
                </a:r>
              </a:p>
              <a:p>
                <a:pPr marL="742950" lvl="1" indent="-285750">
                  <a:buFont typeface="Courier New" panose="02070309020205020404" pitchFamily="49" charset="0"/>
                  <a:buChar char="o"/>
                </a:pPr>
                <a:r>
                  <a:rPr lang="fr-FR" dirty="0">
                    <a:solidFill>
                      <a:schemeClr val="tx1"/>
                    </a:solidFill>
                  </a:rPr>
                  <a:t>Catégories d'activité/action/chapitre aux catégories de programme/domaine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Création d'une clé de répartition pour définir le lien avec le SRMNIA DI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Projection des données budgétaires 2022-2023 à l'aide de l’enveloppe indicative 2022-2023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1FED63B-D9C9-4E82-B4A1-6C75C531DFDA}"/>
                </a:ext>
              </a:extLst>
            </p:cNvPr>
            <p:cNvGrpSpPr/>
            <p:nvPr/>
          </p:nvGrpSpPr>
          <p:grpSpPr>
            <a:xfrm>
              <a:off x="415926" y="1447800"/>
              <a:ext cx="8310182" cy="1088804"/>
              <a:chOff x="415926" y="1447800"/>
              <a:chExt cx="8310182" cy="2204852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91F9F8EA-DE97-46A0-85F2-C86BF3CAED25}"/>
                  </a:ext>
                </a:extLst>
              </p:cNvPr>
              <p:cNvSpPr/>
              <p:nvPr/>
            </p:nvSpPr>
            <p:spPr>
              <a:xfrm>
                <a:off x="415926" y="1447800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36000" rtlCol="0" anchor="ctr"/>
              <a:lstStyle/>
              <a:p>
                <a:pPr algn="ctr"/>
                <a:r>
                  <a:rPr lang="fr-FR" b="1">
                    <a:solidFill>
                      <a:srgbClr val="FFFFFF"/>
                    </a:solidFill>
                  </a:rPr>
                  <a:t>Source des données</a:t>
                </a:r>
                <a:endParaRPr lang="fr-FR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735135A1-FBC3-46BE-8473-99335BCF7821}"/>
                  </a:ext>
                </a:extLst>
              </p:cNvPr>
              <p:cNvSpPr/>
              <p:nvPr/>
            </p:nvSpPr>
            <p:spPr>
              <a:xfrm>
                <a:off x="1981200" y="1447800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LFR 2019 – 2020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LFI 2021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Exécution budgétaire: 2019-2020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Enveloppe Indicative 2022-2023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14B23CC-9CB5-4E90-97BB-BE5F02194312}"/>
                </a:ext>
              </a:extLst>
            </p:cNvPr>
            <p:cNvGrpSpPr/>
            <p:nvPr/>
          </p:nvGrpSpPr>
          <p:grpSpPr>
            <a:xfrm>
              <a:off x="415926" y="4788045"/>
              <a:ext cx="8310181" cy="718619"/>
              <a:chOff x="415926" y="5757113"/>
              <a:chExt cx="8310181" cy="1455220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E6D71476-8F9A-43AB-9485-32ECCF8C4D8E}"/>
                  </a:ext>
                </a:extLst>
              </p:cNvPr>
              <p:cNvSpPr/>
              <p:nvPr/>
            </p:nvSpPr>
            <p:spPr>
              <a:xfrm>
                <a:off x="415926" y="5757116"/>
                <a:ext cx="1403590" cy="145521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Limites</a:t>
                </a: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A7A86A56-F4A0-4262-A52D-7FFAAD99305F}"/>
                  </a:ext>
                </a:extLst>
              </p:cNvPr>
              <p:cNvSpPr/>
              <p:nvPr/>
            </p:nvSpPr>
            <p:spPr>
              <a:xfrm>
                <a:off x="1981199" y="5757113"/>
                <a:ext cx="6744908" cy="14249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Exploitation de la LFI de 2021 par rapport à la LFR 2021</a:t>
                </a:r>
              </a:p>
            </p:txBody>
          </p: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120E9E6-A3AB-4A2B-A4BB-7296992BAFD6}"/>
                </a:ext>
              </a:extLst>
            </p:cNvPr>
            <p:cNvCxnSpPr/>
            <p:nvPr/>
          </p:nvCxnSpPr>
          <p:spPr>
            <a:xfrm>
              <a:off x="413707" y="4669469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F7F09C7C-B7F7-423B-B423-1ECFA8E77441}"/>
                </a:ext>
              </a:extLst>
            </p:cNvPr>
            <p:cNvGrpSpPr/>
            <p:nvPr/>
          </p:nvGrpSpPr>
          <p:grpSpPr>
            <a:xfrm>
              <a:off x="415926" y="5664812"/>
              <a:ext cx="8310182" cy="669312"/>
              <a:chOff x="415926" y="4969227"/>
              <a:chExt cx="8310182" cy="1355372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89B632D7-095C-4715-91FC-623A198FEFB0}"/>
                  </a:ext>
                </a:extLst>
              </p:cNvPr>
              <p:cNvSpPr/>
              <p:nvPr/>
            </p:nvSpPr>
            <p:spPr>
              <a:xfrm>
                <a:off x="415926" y="4969227"/>
                <a:ext cx="1403590" cy="135537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Résultats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B3EEF81-E512-44C6-93DB-1EAF53D7CAAE}"/>
                  </a:ext>
                </a:extLst>
              </p:cNvPr>
              <p:cNvSpPr/>
              <p:nvPr/>
            </p:nvSpPr>
            <p:spPr>
              <a:xfrm>
                <a:off x="1981200" y="5007483"/>
                <a:ext cx="6744908" cy="13171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9144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100 % des ressources publiques entre 2019 et 2023 sont prises en compte pour les analyses</a:t>
                </a:r>
              </a:p>
            </p:txBody>
          </p:sp>
        </p:grp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91CAFF2-92AF-4A62-8B2C-B293C4A9AB34}"/>
                </a:ext>
              </a:extLst>
            </p:cNvPr>
            <p:cNvCxnSpPr/>
            <p:nvPr/>
          </p:nvCxnSpPr>
          <p:spPr>
            <a:xfrm>
              <a:off x="413708" y="5595185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Title 2">
            <a:extLst>
              <a:ext uri="{FF2B5EF4-FFF2-40B4-BE49-F238E27FC236}">
                <a16:creationId xmlns:a16="http://schemas.microsoft.com/office/drawing/2014/main" id="{283E890B-F4D7-4D80-833F-BF8E75F07686}"/>
              </a:ext>
            </a:extLst>
          </p:cNvPr>
          <p:cNvSpPr txBox="1">
            <a:spLocks/>
          </p:cNvSpPr>
          <p:nvPr/>
        </p:nvSpPr>
        <p:spPr>
          <a:xfrm>
            <a:off x="227105" y="71515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 ressources </a:t>
            </a:r>
            <a:r>
              <a:rPr lang="fr-FR" sz="2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kumimoji="0" lang="fr-FR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bliques</a:t>
            </a: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 l’Etat</a:t>
            </a:r>
          </a:p>
        </p:txBody>
      </p:sp>
    </p:spTree>
    <p:extLst>
      <p:ext uri="{BB962C8B-B14F-4D97-AF65-F5344CB8AC3E}">
        <p14:creationId xmlns:p14="http://schemas.microsoft.com/office/powerpoint/2010/main" val="19002996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 descr="Handshake with solid fill">
            <a:extLst>
              <a:ext uri="{FF2B5EF4-FFF2-40B4-BE49-F238E27FC236}">
                <a16:creationId xmlns:a16="http://schemas.microsoft.com/office/drawing/2014/main" id="{2BC936A2-828D-4CF2-AAC4-9CED82E005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41136" y="1013065"/>
            <a:ext cx="1371600" cy="13716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53354D9-5711-4A73-A327-1C08D5F80289}"/>
              </a:ext>
            </a:extLst>
          </p:cNvPr>
          <p:cNvSpPr txBox="1">
            <a:spLocks noChangeAspect="1"/>
          </p:cNvSpPr>
          <p:nvPr/>
        </p:nvSpPr>
        <p:spPr>
          <a:xfrm>
            <a:off x="202444" y="2427347"/>
            <a:ext cx="2648984" cy="538487"/>
          </a:xfrm>
          <a:prstGeom prst="rect">
            <a:avLst/>
          </a:prstGeom>
          <a:solidFill>
            <a:srgbClr val="F79646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Ressources des partenaires techniques et financiers (PTF)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B54796-764D-46D9-A21B-746E1B8C177B}"/>
              </a:ext>
            </a:extLst>
          </p:cNvPr>
          <p:cNvGrpSpPr/>
          <p:nvPr/>
        </p:nvGrpSpPr>
        <p:grpSpPr>
          <a:xfrm>
            <a:off x="3023317" y="1180992"/>
            <a:ext cx="8962418" cy="5374034"/>
            <a:chOff x="413707" y="1447800"/>
            <a:chExt cx="8314619" cy="488632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7778987-0F0E-4BAA-BB42-CD8ED72EEABF}"/>
                </a:ext>
              </a:extLst>
            </p:cNvPr>
            <p:cNvCxnSpPr/>
            <p:nvPr/>
          </p:nvCxnSpPr>
          <p:spPr>
            <a:xfrm>
              <a:off x="415926" y="262512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8826612-395F-4D63-A4BF-6505E9063FD3}"/>
                </a:ext>
              </a:extLst>
            </p:cNvPr>
            <p:cNvGrpSpPr/>
            <p:nvPr/>
          </p:nvGrpSpPr>
          <p:grpSpPr>
            <a:xfrm>
              <a:off x="415926" y="2713640"/>
              <a:ext cx="8310182" cy="1867308"/>
              <a:chOff x="415926" y="4119747"/>
              <a:chExt cx="8310182" cy="378133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4DE8D54-6549-44AB-905A-4B3DB599ADA3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37813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Méthodologie et hypothèses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0A448B3-58BA-4AD9-83F9-72C23680D431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37510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chemeClr val="tx1"/>
                    </a:solidFill>
                    <a:latin typeface="+mj-lt"/>
                    <a:cs typeface="Arial"/>
                  </a:rPr>
                  <a:t>Un appui technique a été fourni pendant la phase de collecte des données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chemeClr val="tx1"/>
                    </a:solidFill>
                    <a:latin typeface="+mj-lt"/>
                    <a:cs typeface="Arial"/>
                  </a:rPr>
                  <a:t>Des sessions de </a:t>
                </a:r>
                <a:r>
                  <a:rPr lang="fr-FR" sz="1700" b="1" dirty="0">
                    <a:solidFill>
                      <a:schemeClr val="tx1"/>
                    </a:solidFill>
                    <a:latin typeface="+mj-lt"/>
                    <a:cs typeface="Arial"/>
                  </a:rPr>
                  <a:t>validation individuelles </a:t>
                </a:r>
                <a:r>
                  <a:rPr lang="fr-FR" sz="1700" dirty="0">
                    <a:solidFill>
                      <a:schemeClr val="tx1"/>
                    </a:solidFill>
                    <a:latin typeface="+mj-lt"/>
                    <a:cs typeface="Arial"/>
                  </a:rPr>
                  <a:t>ont été organisées avec chaque partenaire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chemeClr val="tx1"/>
                    </a:solidFill>
                    <a:latin typeface="+mj-lt"/>
                    <a:cs typeface="Arial"/>
                  </a:rPr>
                  <a:t>Assistance aux partenaires, si nécessaire, pour établir des </a:t>
                </a:r>
                <a:r>
                  <a:rPr lang="fr-FR" sz="1700" b="1" dirty="0">
                    <a:solidFill>
                      <a:schemeClr val="tx1"/>
                    </a:solidFill>
                    <a:latin typeface="+mj-lt"/>
                    <a:cs typeface="Arial"/>
                  </a:rPr>
                  <a:t>projections jusqu'en 2023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484CA54-9025-426E-803B-1E575BBDB38A}"/>
                </a:ext>
              </a:extLst>
            </p:cNvPr>
            <p:cNvGrpSpPr/>
            <p:nvPr/>
          </p:nvGrpSpPr>
          <p:grpSpPr>
            <a:xfrm>
              <a:off x="415926" y="1447800"/>
              <a:ext cx="8310182" cy="1088804"/>
              <a:chOff x="415926" y="1447800"/>
              <a:chExt cx="8310182" cy="2204852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FABCAED-B719-4F11-B8C3-732B082120BF}"/>
                  </a:ext>
                </a:extLst>
              </p:cNvPr>
              <p:cNvSpPr/>
              <p:nvPr/>
            </p:nvSpPr>
            <p:spPr>
              <a:xfrm>
                <a:off x="415926" y="1447800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>
                    <a:solidFill>
                      <a:srgbClr val="FFFFFF"/>
                    </a:solidFill>
                  </a:rPr>
                  <a:t>Source des données</a:t>
                </a:r>
                <a:endParaRPr lang="fr-FR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8439269-FBA9-4D9D-87D1-9CFA7003D1E7}"/>
                  </a:ext>
                </a:extLst>
              </p:cNvPr>
              <p:cNvSpPr/>
              <p:nvPr/>
            </p:nvSpPr>
            <p:spPr>
              <a:xfrm>
                <a:off x="1981200" y="1447800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b="1" dirty="0">
                    <a:solidFill>
                      <a:schemeClr val="tx1"/>
                    </a:solidFill>
                    <a:latin typeface="+mj-lt"/>
                    <a:cs typeface="Arial"/>
                  </a:rPr>
                  <a:t>Outils de collecte de données remplis par chaque partenaire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9BD0637-F69C-4FFE-8D26-B2EDEF360788}"/>
                </a:ext>
              </a:extLst>
            </p:cNvPr>
            <p:cNvGrpSpPr/>
            <p:nvPr/>
          </p:nvGrpSpPr>
          <p:grpSpPr>
            <a:xfrm>
              <a:off x="415926" y="4788045"/>
              <a:ext cx="8310181" cy="718619"/>
              <a:chOff x="415926" y="5757113"/>
              <a:chExt cx="8310181" cy="1455220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4D0A1EB-1867-4EAE-AD66-DDDA047C078F}"/>
                  </a:ext>
                </a:extLst>
              </p:cNvPr>
              <p:cNvSpPr/>
              <p:nvPr/>
            </p:nvSpPr>
            <p:spPr>
              <a:xfrm>
                <a:off x="415926" y="5757116"/>
                <a:ext cx="1403590" cy="145521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Limites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303F6EF-44A3-4BB7-9E05-F045D5A4A71A}"/>
                  </a:ext>
                </a:extLst>
              </p:cNvPr>
              <p:cNvSpPr/>
              <p:nvPr/>
            </p:nvSpPr>
            <p:spPr>
              <a:xfrm>
                <a:off x="1981199" y="5757113"/>
                <a:ext cx="6744908" cy="14249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chemeClr val="tx1"/>
                    </a:solidFill>
                    <a:effectLst/>
                    <a:latin typeface="+mj-lt"/>
                    <a:ea typeface="Calibri" panose="020F0502020204030204" pitchFamily="34" charset="0"/>
                    <a:cs typeface="Arial"/>
                  </a:rPr>
                  <a:t>Retards dans la collecte des données auprès des partenaires techniques et financiers.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b="1" dirty="0">
                    <a:solidFill>
                      <a:srgbClr val="000000"/>
                    </a:solidFill>
                  </a:rPr>
                  <a:t>Réserve de certains partenaires à projeter </a:t>
                </a:r>
                <a:r>
                  <a:rPr lang="fr-FR" sz="1700" dirty="0">
                    <a:solidFill>
                      <a:srgbClr val="000000"/>
                    </a:solidFill>
                  </a:rPr>
                  <a:t>des données pour 2022 et 2023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9CCFEDA-4443-4AD0-9DB6-3F300A156414}"/>
                </a:ext>
              </a:extLst>
            </p:cNvPr>
            <p:cNvCxnSpPr/>
            <p:nvPr/>
          </p:nvCxnSpPr>
          <p:spPr>
            <a:xfrm>
              <a:off x="413707" y="4669469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30581B5-310C-4EFE-B8BC-AA5A1CFD1023}"/>
                </a:ext>
              </a:extLst>
            </p:cNvPr>
            <p:cNvGrpSpPr/>
            <p:nvPr/>
          </p:nvGrpSpPr>
          <p:grpSpPr>
            <a:xfrm>
              <a:off x="415926" y="5664812"/>
              <a:ext cx="8310182" cy="669312"/>
              <a:chOff x="415926" y="4969227"/>
              <a:chExt cx="8310182" cy="1355372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6E0D68B-BF5F-4FF5-B6B6-9B41EA7A23C7}"/>
                  </a:ext>
                </a:extLst>
              </p:cNvPr>
              <p:cNvSpPr/>
              <p:nvPr/>
            </p:nvSpPr>
            <p:spPr>
              <a:xfrm>
                <a:off x="415926" y="4969227"/>
                <a:ext cx="1403590" cy="135537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Résultats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02FA511-E89F-4110-B427-B2D6DD36440B}"/>
                  </a:ext>
                </a:extLst>
              </p:cNvPr>
              <p:cNvSpPr/>
              <p:nvPr/>
            </p:nvSpPr>
            <p:spPr>
              <a:xfrm>
                <a:off x="1981200" y="5007483"/>
                <a:ext cx="6744908" cy="13171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chemeClr val="tx1"/>
                    </a:solidFill>
                    <a:latin typeface="+mj-lt"/>
                    <a:cs typeface="Arial"/>
                  </a:rPr>
                  <a:t>Les données des PTF collectées représentent </a:t>
                </a:r>
                <a:r>
                  <a:rPr lang="fr-FR" sz="1700" b="1" dirty="0">
                    <a:solidFill>
                      <a:schemeClr val="tx1"/>
                    </a:solidFill>
                    <a:latin typeface="+mj-lt"/>
                    <a:cs typeface="Arial"/>
                  </a:rPr>
                  <a:t>plus de 95 % de l'ensemble du financement des PTF </a:t>
                </a:r>
                <a:r>
                  <a:rPr lang="fr-FR" sz="1700" dirty="0">
                    <a:solidFill>
                      <a:schemeClr val="tx1"/>
                    </a:solidFill>
                    <a:latin typeface="+mj-lt"/>
                    <a:cs typeface="Arial"/>
                  </a:rPr>
                  <a:t>pour le secteur de la santé. </a:t>
                </a:r>
                <a:endParaRPr lang="fr-FR" sz="1700" b="1" dirty="0">
                  <a:solidFill>
                    <a:schemeClr val="tx1"/>
                  </a:solidFill>
                  <a:latin typeface="+mj-lt"/>
                  <a:cs typeface="Arial"/>
                </a:endParaRPr>
              </a:p>
            </p:txBody>
          </p: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4409580-CD21-46D8-8F56-783E9ACD0C52}"/>
                </a:ext>
              </a:extLst>
            </p:cNvPr>
            <p:cNvCxnSpPr/>
            <p:nvPr/>
          </p:nvCxnSpPr>
          <p:spPr>
            <a:xfrm>
              <a:off x="413708" y="5595185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itle 2">
            <a:extLst>
              <a:ext uri="{FF2B5EF4-FFF2-40B4-BE49-F238E27FC236}">
                <a16:creationId xmlns:a16="http://schemas.microsoft.com/office/drawing/2014/main" id="{994C7B5D-F9EB-4814-B314-20A21D53BC95}"/>
              </a:ext>
            </a:extLst>
          </p:cNvPr>
          <p:cNvSpPr txBox="1">
            <a:spLocks/>
          </p:cNvSpPr>
          <p:nvPr/>
        </p:nvSpPr>
        <p:spPr>
          <a:xfrm>
            <a:off x="227105" y="71515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s ressources des partenaires techniques et financiers (PTF)</a:t>
            </a:r>
          </a:p>
        </p:txBody>
      </p:sp>
    </p:spTree>
    <p:extLst>
      <p:ext uri="{BB962C8B-B14F-4D97-AF65-F5344CB8AC3E}">
        <p14:creationId xmlns:p14="http://schemas.microsoft.com/office/powerpoint/2010/main" val="258546691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7889B48E-A144-43C3-B05B-AEF07B0FEA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889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1" imgW="416" imgH="416" progId="TCLayout.ActiveDocument.1">
                  <p:embed/>
                </p:oleObj>
              </mc:Choice>
              <mc:Fallback>
                <p:oleObj name="think-cell Slide" r:id="rId11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74B54796-764D-46D9-A21B-746E1B8C177B}"/>
              </a:ext>
            </a:extLst>
          </p:cNvPr>
          <p:cNvGrpSpPr/>
          <p:nvPr/>
        </p:nvGrpSpPr>
        <p:grpSpPr>
          <a:xfrm>
            <a:off x="3023317" y="1180992"/>
            <a:ext cx="8962418" cy="5374034"/>
            <a:chOff x="413707" y="1447800"/>
            <a:chExt cx="8314619" cy="488632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7778987-0F0E-4BAA-BB42-CD8ED72EEABF}"/>
                </a:ext>
              </a:extLst>
            </p:cNvPr>
            <p:cNvCxnSpPr/>
            <p:nvPr/>
          </p:nvCxnSpPr>
          <p:spPr>
            <a:xfrm>
              <a:off x="415926" y="262512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8826612-395F-4D63-A4BF-6505E9063FD3}"/>
                </a:ext>
              </a:extLst>
            </p:cNvPr>
            <p:cNvGrpSpPr/>
            <p:nvPr/>
          </p:nvGrpSpPr>
          <p:grpSpPr>
            <a:xfrm>
              <a:off x="415926" y="2713640"/>
              <a:ext cx="8310182" cy="1867308"/>
              <a:chOff x="415926" y="4119747"/>
              <a:chExt cx="8310182" cy="378133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4DE8D54-6549-44AB-905A-4B3DB599ADA3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37813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Méthodologie et hypothèses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0A448B3-58BA-4AD9-83F9-72C23680D431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37510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Pour </a:t>
                </a:r>
                <a:r>
                  <a:rPr lang="fr-FR" sz="1700" b="1" dirty="0">
                    <a:solidFill>
                      <a:srgbClr val="000000"/>
                    </a:solidFill>
                  </a:rPr>
                  <a:t>les analyses PNDSS </a:t>
                </a:r>
                <a:r>
                  <a:rPr lang="fr-FR" sz="1700" dirty="0">
                    <a:solidFill>
                      <a:srgbClr val="000000"/>
                    </a:solidFill>
                  </a:rPr>
                  <a:t>: </a:t>
                </a:r>
                <a:r>
                  <a:rPr lang="fr-FR" sz="1700" b="1" dirty="0">
                    <a:solidFill>
                      <a:srgbClr val="000000"/>
                    </a:solidFill>
                  </a:rPr>
                  <a:t>inclusion de 19% </a:t>
                </a:r>
                <a:r>
                  <a:rPr lang="fr-FR" sz="1700" dirty="0">
                    <a:solidFill>
                      <a:srgbClr val="000000"/>
                    </a:solidFill>
                  </a:rPr>
                  <a:t>des ménages qui reflètent les dépenses dans le secteur public.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Pour </a:t>
                </a:r>
                <a:r>
                  <a:rPr lang="fr-FR" sz="1700" b="1" dirty="0">
                    <a:solidFill>
                      <a:srgbClr val="000000"/>
                    </a:solidFill>
                  </a:rPr>
                  <a:t>les analyses DI SRMNIA </a:t>
                </a:r>
                <a:r>
                  <a:rPr lang="fr-FR" sz="1700" dirty="0">
                    <a:solidFill>
                      <a:srgbClr val="000000"/>
                    </a:solidFill>
                  </a:rPr>
                  <a:t>: </a:t>
                </a:r>
                <a:r>
                  <a:rPr lang="fr-FR" sz="1700" b="1" dirty="0">
                    <a:solidFill>
                      <a:srgbClr val="000000"/>
                    </a:solidFill>
                  </a:rPr>
                  <a:t>inclusion des 7% </a:t>
                </a:r>
                <a:r>
                  <a:rPr lang="fr-FR" sz="1700" dirty="0">
                    <a:solidFill>
                      <a:srgbClr val="000000"/>
                    </a:solidFill>
                  </a:rPr>
                  <a:t>des dépenses des ménages qui sont au niveau des soins primaires. 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Projections jusqu'en 2023 en estimant des taux de croissance ajustés afin de tenir compte des programmes de CMU (- 1% de taux de décroissance annuelle)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484CA54-9025-426E-803B-1E575BBDB38A}"/>
                </a:ext>
              </a:extLst>
            </p:cNvPr>
            <p:cNvGrpSpPr/>
            <p:nvPr/>
          </p:nvGrpSpPr>
          <p:grpSpPr>
            <a:xfrm>
              <a:off x="415926" y="1447800"/>
              <a:ext cx="8310182" cy="1088804"/>
              <a:chOff x="415926" y="1447800"/>
              <a:chExt cx="8310182" cy="2204852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FABCAED-B719-4F11-B8C3-732B082120BF}"/>
                  </a:ext>
                </a:extLst>
              </p:cNvPr>
              <p:cNvSpPr/>
              <p:nvPr/>
            </p:nvSpPr>
            <p:spPr>
              <a:xfrm>
                <a:off x="415926" y="1447800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>
                    <a:solidFill>
                      <a:srgbClr val="FFFFFF"/>
                    </a:solidFill>
                  </a:rPr>
                  <a:t>Source des données</a:t>
                </a:r>
                <a:endParaRPr lang="fr-FR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8439269-FBA9-4D9D-87D1-9CFA7003D1E7}"/>
                  </a:ext>
                </a:extLst>
              </p:cNvPr>
              <p:cNvSpPr/>
              <p:nvPr/>
            </p:nvSpPr>
            <p:spPr>
              <a:xfrm>
                <a:off x="1981200" y="1447800"/>
                <a:ext cx="6744908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b="1" dirty="0">
                    <a:solidFill>
                      <a:srgbClr val="000000"/>
                    </a:solidFill>
                  </a:rPr>
                  <a:t>Données des comptes de la santé 2014-2016 </a:t>
                </a:r>
                <a:r>
                  <a:rPr lang="fr-FR" sz="1700" dirty="0">
                    <a:solidFill>
                      <a:srgbClr val="000000"/>
                    </a:solidFill>
                  </a:rPr>
                  <a:t>sur les paiements directs et les contributions aux mutuelles de santé des ménages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Données des comptes de la santé 2016 sur la part des dépenses des ménages par niveau (pyramide sanitaire) et par secteur (privé vs. publiques)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9BD0637-F69C-4FFE-8D26-B2EDEF360788}"/>
                </a:ext>
              </a:extLst>
            </p:cNvPr>
            <p:cNvGrpSpPr/>
            <p:nvPr/>
          </p:nvGrpSpPr>
          <p:grpSpPr>
            <a:xfrm>
              <a:off x="415926" y="4788045"/>
              <a:ext cx="8310181" cy="718619"/>
              <a:chOff x="415926" y="5757113"/>
              <a:chExt cx="8310181" cy="1455220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4D0A1EB-1867-4EAE-AD66-DDDA047C078F}"/>
                  </a:ext>
                </a:extLst>
              </p:cNvPr>
              <p:cNvSpPr/>
              <p:nvPr/>
            </p:nvSpPr>
            <p:spPr>
              <a:xfrm>
                <a:off x="415926" y="5757116"/>
                <a:ext cx="1403590" cy="145521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Limites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303F6EF-44A3-4BB7-9E05-F045D5A4A71A}"/>
                  </a:ext>
                </a:extLst>
              </p:cNvPr>
              <p:cNvSpPr/>
              <p:nvPr/>
            </p:nvSpPr>
            <p:spPr>
              <a:xfrm>
                <a:off x="1981199" y="5757113"/>
                <a:ext cx="6744908" cy="14249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Les projections ne tiennent pas compte de l'effet de la COVID19 sur les dépenses des ménages. 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9CCFEDA-4443-4AD0-9DB6-3F300A156414}"/>
                </a:ext>
              </a:extLst>
            </p:cNvPr>
            <p:cNvCxnSpPr/>
            <p:nvPr/>
          </p:nvCxnSpPr>
          <p:spPr>
            <a:xfrm>
              <a:off x="413707" y="4669469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30581B5-310C-4EFE-B8BC-AA5A1CFD1023}"/>
                </a:ext>
              </a:extLst>
            </p:cNvPr>
            <p:cNvGrpSpPr/>
            <p:nvPr/>
          </p:nvGrpSpPr>
          <p:grpSpPr>
            <a:xfrm>
              <a:off x="415926" y="5664812"/>
              <a:ext cx="8310182" cy="669312"/>
              <a:chOff x="415926" y="4969227"/>
              <a:chExt cx="8310182" cy="1355372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6E0D68B-BF5F-4FF5-B6B6-9B41EA7A23C7}"/>
                  </a:ext>
                </a:extLst>
              </p:cNvPr>
              <p:cNvSpPr/>
              <p:nvPr/>
            </p:nvSpPr>
            <p:spPr>
              <a:xfrm>
                <a:off x="415926" y="4969227"/>
                <a:ext cx="1403590" cy="135537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Résultats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02FA511-E89F-4110-B427-B2D6DD36440B}"/>
                  </a:ext>
                </a:extLst>
              </p:cNvPr>
              <p:cNvSpPr/>
              <p:nvPr/>
            </p:nvSpPr>
            <p:spPr>
              <a:xfrm>
                <a:off x="1981200" y="5007483"/>
                <a:ext cx="6744908" cy="13171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700" dirty="0">
                    <a:solidFill>
                      <a:srgbClr val="000000"/>
                    </a:solidFill>
                  </a:rPr>
                  <a:t>Prise en compte de la contribution des ménages dans les analyses du PNDSS et du DI SRMNIA </a:t>
                </a:r>
              </a:p>
            </p:txBody>
          </p: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4409580-CD21-46D8-8F56-783E9ACD0C52}"/>
                </a:ext>
              </a:extLst>
            </p:cNvPr>
            <p:cNvCxnSpPr/>
            <p:nvPr/>
          </p:nvCxnSpPr>
          <p:spPr>
            <a:xfrm>
              <a:off x="413708" y="5595185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phic 19" descr="Family with two children with solid fill">
            <a:extLst>
              <a:ext uri="{FF2B5EF4-FFF2-40B4-BE49-F238E27FC236}">
                <a16:creationId xmlns:a16="http://schemas.microsoft.com/office/drawing/2014/main" id="{BA95B370-3D5E-4421-A93D-F8340E59A67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3887" y="1131213"/>
            <a:ext cx="1371600" cy="1371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E2221B1-8FCA-421C-BDA8-4BB9840E7A9F}"/>
              </a:ext>
            </a:extLst>
          </p:cNvPr>
          <p:cNvSpPr txBox="1">
            <a:spLocks noChangeAspect="1"/>
          </p:cNvSpPr>
          <p:nvPr/>
        </p:nvSpPr>
        <p:spPr>
          <a:xfrm>
            <a:off x="430213" y="2460786"/>
            <a:ext cx="2218948" cy="451069"/>
          </a:xfrm>
          <a:prstGeom prst="rect">
            <a:avLst/>
          </a:prstGeom>
          <a:solidFill>
            <a:srgbClr val="FFC90D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Ressources des ménages</a:t>
            </a:r>
            <a:endParaRPr lang="en-US" sz="1400" b="1" dirty="0">
              <a:solidFill>
                <a:schemeClr val="bg1"/>
              </a:solidFill>
            </a:endParaRPr>
          </a:p>
        </p:txBody>
      </p:sp>
      <p:graphicFrame>
        <p:nvGraphicFramePr>
          <p:cNvPr id="64" name="Chart 63">
            <a:extLst>
              <a:ext uri="{FF2B5EF4-FFF2-40B4-BE49-F238E27FC236}">
                <a16:creationId xmlns:a16="http://schemas.microsoft.com/office/drawing/2014/main" id="{D71079BB-BB92-420F-89B6-8931E6DCC44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90665920"/>
              </p:ext>
            </p:extLst>
          </p:nvPr>
        </p:nvGraphicFramePr>
        <p:xfrm>
          <a:off x="31750" y="3167063"/>
          <a:ext cx="2681288" cy="23780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C5C3DC62-8130-4BF8-AD6A-82022A0FCFE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65100" y="5827713"/>
            <a:ext cx="214313" cy="160338"/>
          </a:xfrm>
          <a:prstGeom prst="rect">
            <a:avLst/>
          </a:prstGeom>
          <a:solidFill>
            <a:srgbClr val="FBE5D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5A5AC3E-EBA4-4F8B-9C4B-109D4C5982D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65100" y="6061075"/>
            <a:ext cx="214313" cy="160338"/>
          </a:xfrm>
          <a:prstGeom prst="rect">
            <a:avLst/>
          </a:prstGeom>
          <a:solidFill>
            <a:srgbClr val="FFE699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F4B6A12-3D7C-4456-AE75-27C6CEBBB79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65100" y="6294438"/>
            <a:ext cx="214313" cy="160338"/>
          </a:xfrm>
          <a:prstGeom prst="rect">
            <a:avLst/>
          </a:prstGeom>
          <a:solidFill>
            <a:srgbClr val="BF900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1065D647-E1C1-443D-839A-805517196CE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30213" y="5822950"/>
            <a:ext cx="22209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BE1A51E-74FF-4D9F-85A0-281C916680F9}" type="datetime'''Publi''c - Soins'''' de sa''n''''té ''''prima''ir''''e''s'">
              <a:rPr lang="fr-FR" altLang="en-US" sz="1200" smtClean="0">
                <a:cs typeface="+mn-cs"/>
              </a:rPr>
              <a:pPr/>
              <a:t>Public - Soins de santé primaires</a:t>
            </a:fld>
            <a:endParaRPr lang="en-US" sz="1200" dirty="0">
              <a:cs typeface="+mn-cs"/>
            </a:endParaRP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EE37E5FA-10D3-4CCA-A27E-75D85DD2CE1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30213" y="6056313"/>
            <a:ext cx="24495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F2087B6-E2F5-47B2-8A2D-CBEE9C236EDF}" type="datetime'Pu''b''lic - S''oins de'' santé de ''r''é''férenc''''''e'">
              <a:rPr lang="fr-FR" altLang="en-US" sz="1200" smtClean="0">
                <a:cs typeface="+mn-cs"/>
              </a:rPr>
              <a:pPr/>
              <a:t>Public - Soins de santé de référence</a:t>
            </a:fld>
            <a:endParaRPr lang="en-US" sz="1200" dirty="0">
              <a:cs typeface="+mn-cs"/>
            </a:endParaRP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B7082EFA-AA20-45E8-A362-B20F6B05F37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30213" y="628967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891" indent="-342891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32" indent="-28574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2971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160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349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537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6F6AF64-B3B1-42C7-9F91-88470EEA7373}" type="datetime'P''''''''r''''''i''''v''''''''''''''''é'''''''''">
              <a:rPr lang="en-US" altLang="en-US" sz="1200" smtClean="0">
                <a:cs typeface="+mn-cs"/>
              </a:rPr>
              <a:pPr/>
              <a:t>Privé</a:t>
            </a:fld>
            <a:endParaRPr lang="en-US" sz="1200" dirty="0">
              <a:cs typeface="+mn-cs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55A9270E-11BD-4DA9-9C31-A9385F4DF8CD}"/>
              </a:ext>
            </a:extLst>
          </p:cNvPr>
          <p:cNvCxnSpPr/>
          <p:nvPr/>
        </p:nvCxnSpPr>
        <p:spPr>
          <a:xfrm>
            <a:off x="1371600" y="3241964"/>
            <a:ext cx="0" cy="1122218"/>
          </a:xfrm>
          <a:prstGeom prst="line">
            <a:avLst/>
          </a:prstGeom>
          <a:ln w="5715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78807D8E-F01A-4F44-81ED-66C970F06194}"/>
              </a:ext>
            </a:extLst>
          </p:cNvPr>
          <p:cNvCxnSpPr>
            <a:cxnSpLocks/>
          </p:cNvCxnSpPr>
          <p:nvPr/>
        </p:nvCxnSpPr>
        <p:spPr>
          <a:xfrm flipH="1">
            <a:off x="1371600" y="3948545"/>
            <a:ext cx="1005709" cy="415637"/>
          </a:xfrm>
          <a:prstGeom prst="line">
            <a:avLst/>
          </a:prstGeom>
          <a:ln w="57150">
            <a:solidFill>
              <a:srgbClr val="00B05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itle 2">
            <a:extLst>
              <a:ext uri="{FF2B5EF4-FFF2-40B4-BE49-F238E27FC236}">
                <a16:creationId xmlns:a16="http://schemas.microsoft.com/office/drawing/2014/main" id="{0A639D83-AFDB-4E04-B233-BD40271E7CB9}"/>
              </a:ext>
            </a:extLst>
          </p:cNvPr>
          <p:cNvSpPr txBox="1">
            <a:spLocks/>
          </p:cNvSpPr>
          <p:nvPr/>
        </p:nvSpPr>
        <p:spPr>
          <a:xfrm>
            <a:off x="227105" y="71515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r</a:t>
            </a:r>
            <a:r>
              <a:rPr kumimoji="0" lang="fr-FR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sources</a:t>
            </a: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s ménages</a:t>
            </a:r>
          </a:p>
        </p:txBody>
      </p:sp>
    </p:spTree>
    <p:extLst>
      <p:ext uri="{BB962C8B-B14F-4D97-AF65-F5344CB8AC3E}">
        <p14:creationId xmlns:p14="http://schemas.microsoft.com/office/powerpoint/2010/main" val="4168464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4B54796-764D-46D9-A21B-746E1B8C177B}"/>
              </a:ext>
            </a:extLst>
          </p:cNvPr>
          <p:cNvGrpSpPr/>
          <p:nvPr/>
        </p:nvGrpSpPr>
        <p:grpSpPr>
          <a:xfrm>
            <a:off x="3023317" y="1180992"/>
            <a:ext cx="9109416" cy="5374034"/>
            <a:chOff x="413707" y="1447800"/>
            <a:chExt cx="8450993" cy="4886324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87778987-0F0E-4BAA-BB42-CD8ED72EEABF}"/>
                </a:ext>
              </a:extLst>
            </p:cNvPr>
            <p:cNvCxnSpPr/>
            <p:nvPr/>
          </p:nvCxnSpPr>
          <p:spPr>
            <a:xfrm>
              <a:off x="415926" y="2625122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8826612-395F-4D63-A4BF-6505E9063FD3}"/>
                </a:ext>
              </a:extLst>
            </p:cNvPr>
            <p:cNvGrpSpPr/>
            <p:nvPr/>
          </p:nvGrpSpPr>
          <p:grpSpPr>
            <a:xfrm>
              <a:off x="415926" y="2713640"/>
              <a:ext cx="8310182" cy="1867308"/>
              <a:chOff x="415926" y="4119747"/>
              <a:chExt cx="8310182" cy="3781338"/>
            </a:xfrm>
          </p:grpSpPr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84DE8D54-6549-44AB-905A-4B3DB599ADA3}"/>
                  </a:ext>
                </a:extLst>
              </p:cNvPr>
              <p:cNvSpPr/>
              <p:nvPr/>
            </p:nvSpPr>
            <p:spPr>
              <a:xfrm>
                <a:off x="415926" y="4119747"/>
                <a:ext cx="1403590" cy="3781338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Méthodologie et hypothèses</a:t>
                </a: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40A448B3-58BA-4AD9-83F9-72C23680D431}"/>
                  </a:ext>
                </a:extLst>
              </p:cNvPr>
              <p:cNvSpPr/>
              <p:nvPr/>
            </p:nvSpPr>
            <p:spPr>
              <a:xfrm>
                <a:off x="1981200" y="4119747"/>
                <a:ext cx="6744908" cy="375108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b="1" dirty="0">
                    <a:solidFill>
                      <a:srgbClr val="000000"/>
                    </a:solidFill>
                  </a:rPr>
                  <a:t>Couplage de régions </a:t>
                </a:r>
                <a:r>
                  <a:rPr lang="fr-FR" sz="1600" dirty="0">
                    <a:solidFill>
                      <a:srgbClr val="000000"/>
                    </a:solidFill>
                  </a:rPr>
                  <a:t>présentant des tendances historiques similaires en matière de dépenses et de démographie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dirty="0">
                    <a:solidFill>
                      <a:srgbClr val="000000"/>
                    </a:solidFill>
                  </a:rPr>
                  <a:t>Création des clés de répartition pour répartir les données par orientation stratégique, catégories de programmes et catégories de coûts. 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dirty="0">
                    <a:solidFill>
                      <a:srgbClr val="000000"/>
                    </a:solidFill>
                  </a:rPr>
                  <a:t>Taux de croissance historique stable entre 2014 et 2016 avec une forte augmentation de la mobilisation des fonds en 2020. Projections de la baisse de la mobilisation des ressources post-COVID19 </a:t>
                </a: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2484CA54-9025-426E-803B-1E575BBDB38A}"/>
                </a:ext>
              </a:extLst>
            </p:cNvPr>
            <p:cNvGrpSpPr/>
            <p:nvPr/>
          </p:nvGrpSpPr>
          <p:grpSpPr>
            <a:xfrm>
              <a:off x="415926" y="1447800"/>
              <a:ext cx="8448774" cy="1088804"/>
              <a:chOff x="415926" y="1447800"/>
              <a:chExt cx="8448774" cy="2204852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4FABCAED-B719-4F11-B8C3-732B082120BF}"/>
                  </a:ext>
                </a:extLst>
              </p:cNvPr>
              <p:cNvSpPr/>
              <p:nvPr/>
            </p:nvSpPr>
            <p:spPr>
              <a:xfrm>
                <a:off x="415926" y="1447800"/>
                <a:ext cx="1403590" cy="220485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>
                    <a:solidFill>
                      <a:srgbClr val="FFFFFF"/>
                    </a:solidFill>
                  </a:rPr>
                  <a:t>Source des données</a:t>
                </a:r>
                <a:endParaRPr lang="fr-FR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88439269-FBA9-4D9D-87D1-9CFA7003D1E7}"/>
                  </a:ext>
                </a:extLst>
              </p:cNvPr>
              <p:cNvSpPr/>
              <p:nvPr/>
            </p:nvSpPr>
            <p:spPr>
              <a:xfrm>
                <a:off x="1981200" y="1447800"/>
                <a:ext cx="6883500" cy="220485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b="1" dirty="0">
                    <a:solidFill>
                      <a:srgbClr val="000000"/>
                    </a:solidFill>
                  </a:rPr>
                  <a:t>Données primaires </a:t>
                </a:r>
                <a:r>
                  <a:rPr lang="fr-FR" sz="1600" dirty="0">
                    <a:solidFill>
                      <a:srgbClr val="000000"/>
                    </a:solidFill>
                  </a:rPr>
                  <a:t>sur la contribution des collectivités territoriales </a:t>
                </a:r>
                <a:r>
                  <a:rPr lang="fr-FR" sz="1600" b="1" dirty="0">
                    <a:solidFill>
                      <a:srgbClr val="000000"/>
                    </a:solidFill>
                  </a:rPr>
                  <a:t>pour 7 régions </a:t>
                </a:r>
                <a:r>
                  <a:rPr lang="fr-FR" sz="1600" dirty="0">
                    <a:solidFill>
                      <a:srgbClr val="000000"/>
                    </a:solidFill>
                  </a:rPr>
                  <a:t>: Dakar, Fatick, Kaffrine, Kaolack, Louga, Thiès et Ziguinchor.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dirty="0">
                    <a:solidFill>
                      <a:srgbClr val="000000"/>
                    </a:solidFill>
                  </a:rPr>
                  <a:t>Données du MGTDAT 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dirty="0">
                    <a:solidFill>
                      <a:srgbClr val="000000"/>
                    </a:solidFill>
                  </a:rPr>
                  <a:t>Rapport d'étude sur la cartographie des interventions dans les CT (2014)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dirty="0">
                    <a:solidFill>
                      <a:srgbClr val="000000"/>
                    </a:solidFill>
                  </a:rPr>
                  <a:t>Rapport de suivi de l’utilisation des ressources financières des CT 2014 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D9BD0637-F69C-4FFE-8D26-B2EDEF360788}"/>
                </a:ext>
              </a:extLst>
            </p:cNvPr>
            <p:cNvGrpSpPr/>
            <p:nvPr/>
          </p:nvGrpSpPr>
          <p:grpSpPr>
            <a:xfrm>
              <a:off x="415926" y="4788045"/>
              <a:ext cx="8310181" cy="718619"/>
              <a:chOff x="415926" y="5757113"/>
              <a:chExt cx="8310181" cy="1455220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94D0A1EB-1867-4EAE-AD66-DDDA047C078F}"/>
                  </a:ext>
                </a:extLst>
              </p:cNvPr>
              <p:cNvSpPr/>
              <p:nvPr/>
            </p:nvSpPr>
            <p:spPr>
              <a:xfrm>
                <a:off x="415926" y="5757116"/>
                <a:ext cx="1403590" cy="1455217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Limites</a:t>
                </a:r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7303F6EF-44A3-4BB7-9E05-F045D5A4A71A}"/>
                  </a:ext>
                </a:extLst>
              </p:cNvPr>
              <p:cNvSpPr/>
              <p:nvPr/>
            </p:nvSpPr>
            <p:spPr>
              <a:xfrm>
                <a:off x="1981199" y="5757113"/>
                <a:ext cx="6744908" cy="142496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dirty="0">
                    <a:solidFill>
                      <a:srgbClr val="000000"/>
                    </a:solidFill>
                  </a:rPr>
                  <a:t>Données primaires pour 7 régions uniquement avec des projections pour les 7 autres régions</a:t>
                </a:r>
              </a:p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b="1" dirty="0">
                    <a:solidFill>
                      <a:srgbClr val="000000"/>
                    </a:solidFill>
                  </a:rPr>
                  <a:t>Difficultés de désagrégation par catégories programmatiques </a:t>
                </a:r>
                <a:r>
                  <a:rPr lang="fr-FR" sz="1600" dirty="0">
                    <a:solidFill>
                      <a:srgbClr val="000000"/>
                    </a:solidFill>
                  </a:rPr>
                  <a:t>lorsque les données ne sont pas spécifiques à une maladie ou programme</a:t>
                </a:r>
              </a:p>
            </p:txBody>
          </p:sp>
        </p:grp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9CCFEDA-4443-4AD0-9DB6-3F300A156414}"/>
                </a:ext>
              </a:extLst>
            </p:cNvPr>
            <p:cNvCxnSpPr/>
            <p:nvPr/>
          </p:nvCxnSpPr>
          <p:spPr>
            <a:xfrm>
              <a:off x="413707" y="4669469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30581B5-310C-4EFE-B8BC-AA5A1CFD1023}"/>
                </a:ext>
              </a:extLst>
            </p:cNvPr>
            <p:cNvGrpSpPr/>
            <p:nvPr/>
          </p:nvGrpSpPr>
          <p:grpSpPr>
            <a:xfrm>
              <a:off x="415926" y="5664812"/>
              <a:ext cx="8310182" cy="669312"/>
              <a:chOff x="415926" y="4969227"/>
              <a:chExt cx="8310182" cy="1355372"/>
            </a:xfrm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56E0D68B-BF5F-4FF5-B6B6-9B41EA7A23C7}"/>
                  </a:ext>
                </a:extLst>
              </p:cNvPr>
              <p:cNvSpPr/>
              <p:nvPr/>
            </p:nvSpPr>
            <p:spPr>
              <a:xfrm>
                <a:off x="415926" y="4969227"/>
                <a:ext cx="1403590" cy="135537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rIns="36000" rtlCol="0" anchor="ctr"/>
              <a:lstStyle/>
              <a:p>
                <a:pPr algn="ctr"/>
                <a:r>
                  <a:rPr lang="fr-FR" b="1" dirty="0">
                    <a:solidFill>
                      <a:srgbClr val="FFFFFF"/>
                    </a:solidFill>
                  </a:rPr>
                  <a:t>Résultats</a:t>
                </a:r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02FA511-E89F-4110-B427-B2D6DD36440B}"/>
                  </a:ext>
                </a:extLst>
              </p:cNvPr>
              <p:cNvSpPr/>
              <p:nvPr/>
            </p:nvSpPr>
            <p:spPr>
              <a:xfrm>
                <a:off x="1981200" y="5007483"/>
                <a:ext cx="6744908" cy="131711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285750" indent="-285750">
                  <a:spcAft>
                    <a:spcPts val="300"/>
                  </a:spcAft>
                  <a:buFont typeface="Arial" panose="020B0604020202020204" pitchFamily="34" charset="0"/>
                  <a:buChar char="•"/>
                </a:pPr>
                <a:r>
                  <a:rPr lang="fr-FR" sz="1600" dirty="0">
                    <a:solidFill>
                      <a:srgbClr val="000000"/>
                    </a:solidFill>
                  </a:rPr>
                  <a:t>Prise en compte des ressources des 14 régions dans les analyses</a:t>
                </a:r>
              </a:p>
            </p:txBody>
          </p:sp>
        </p:grp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4409580-CD21-46D8-8F56-783E9ACD0C52}"/>
                </a:ext>
              </a:extLst>
            </p:cNvPr>
            <p:cNvCxnSpPr/>
            <p:nvPr/>
          </p:nvCxnSpPr>
          <p:spPr>
            <a:xfrm>
              <a:off x="413708" y="5595185"/>
              <a:ext cx="8312400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Graphic 19" descr="Neighborhood with solid fill">
            <a:extLst>
              <a:ext uri="{FF2B5EF4-FFF2-40B4-BE49-F238E27FC236}">
                <a16:creationId xmlns:a16="http://schemas.microsoft.com/office/drawing/2014/main" id="{5281B086-C992-4FB2-88DC-686A509F0A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23740" y="1055793"/>
            <a:ext cx="1371600" cy="13716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94CA7C07-1A46-4C73-A85B-64F02D6C7592}"/>
              </a:ext>
            </a:extLst>
          </p:cNvPr>
          <p:cNvSpPr txBox="1">
            <a:spLocks noChangeAspect="1"/>
          </p:cNvSpPr>
          <p:nvPr/>
        </p:nvSpPr>
        <p:spPr>
          <a:xfrm>
            <a:off x="161659" y="2478342"/>
            <a:ext cx="2495763" cy="507340"/>
          </a:xfrm>
          <a:prstGeom prst="rect">
            <a:avLst/>
          </a:prstGeom>
          <a:solidFill>
            <a:srgbClr val="969696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91440" tIns="91440" rIns="91440" bIns="91440" rtlCol="0" anchor="ctr" anchorCtr="0">
            <a:noAutofit/>
          </a:bodyPr>
          <a:lstStyle/>
          <a:p>
            <a:pPr algn="ctr"/>
            <a:r>
              <a:rPr lang="fr-FR" sz="1400" b="1" dirty="0">
                <a:solidFill>
                  <a:schemeClr val="bg1"/>
                </a:solidFill>
              </a:rPr>
              <a:t>Ressources des collectivités territoriales 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7396FA6-5CD7-43AA-85C9-B95FD36284F4}"/>
              </a:ext>
            </a:extLst>
          </p:cNvPr>
          <p:cNvSpPr txBox="1">
            <a:spLocks/>
          </p:cNvSpPr>
          <p:nvPr/>
        </p:nvSpPr>
        <p:spPr>
          <a:xfrm>
            <a:off x="227105" y="71515"/>
            <a:ext cx="11737790" cy="850392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8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r</a:t>
            </a:r>
            <a:r>
              <a:rPr kumimoji="0" lang="fr-FR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ssources</a:t>
            </a: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des collectivités territoriales </a:t>
            </a:r>
          </a:p>
        </p:txBody>
      </p:sp>
    </p:spTree>
    <p:extLst>
      <p:ext uri="{BB962C8B-B14F-4D97-AF65-F5344CB8AC3E}">
        <p14:creationId xmlns:p14="http://schemas.microsoft.com/office/powerpoint/2010/main" val="36210595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4.95420935933989436961E+00&quot;&gt;&lt;m_msothmcolidx val=&quot;0&quot;/&gt;&lt;m_rgb r=&quot;FF&quot; g=&quot;C9&quot; b=&quot;0D&quot;/&gt;&lt;/elem&gt;&lt;elem m_fUsage=&quot;1.81000000000000005329E+00&quot;&gt;&lt;m_msothmcolidx val=&quot;0&quot;/&gt;&lt;m_rgb r=&quot;BF&quot; g=&quot;90&quot; b=&quot;00&quot;/&gt;&lt;/elem&gt;&lt;elem m_fUsage=&quot;1.66059043036437037344E+00&quot;&gt;&lt;m_msothmcolidx val=&quot;0&quot;/&gt;&lt;m_rgb r=&quot;D0&quot; g=&quot;B3&quot; b=&quot;D7&quot;/&gt;&lt;/elem&gt;&lt;elem m_fUsage=&quot;7.29000000000000092371E-01&quot;&gt;&lt;m_msothmcolidx val=&quot;0&quot;/&gt;&lt;m_rgb r=&quot;FF&quot; g=&quot;E6&quot; b=&quot;99&quot;/&gt;&lt;/elem&gt;&lt;elem m_fUsage=&quot;6.56100000000000127542E-01&quot;&gt;&lt;m_msothmcolidx val=&quot;0&quot;/&gt;&lt;m_rgb r=&quot;FB&quot; g=&quot;E5&quot; b=&quot;D6&quot;/&gt;&lt;/elem&gt;&lt;elem m_fUsage=&quot;1.50094635296999207030E-01&quot;&gt;&lt;m_msothmcolidx val=&quot;0&quot;/&gt;&lt;m_rgb r=&quot;00&quot; g=&quot;AE&quot; b=&quot;4B&quot;/&gt;&lt;/elem&gt;&lt;elem m_fUsage=&quot;1.49248177014300008325E-02&quot;&gt;&lt;m_msothmcolidx val=&quot;0&quot;/&gt;&lt;m_rgb r=&quot;6F&quot; g=&quot;2E&quot; b=&quot;9F&quot;/&gt;&lt;/elem&gt;&lt;elem m_fUsage=&quot;8.72796356808772273717E-03&quot;&gt;&lt;m_msothmcolidx val=&quot;0&quot;/&gt;&lt;m_rgb r=&quot;FF&quot; g=&quot;02&quot; b=&quot;02&quot;/&gt;&lt;/elem&gt;&lt;elem m_fUsage=&quot;1.79701029991443349265E-03&quot;&gt;&lt;m_msothmcolidx val=&quot;0&quot;/&gt;&lt;m_rgb r=&quot;45&quot; g=&quot;9C&quot; b=&quot;C7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wMlllZofyt_eWNAtfgF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7xXjT8kO8vmJ.Oxqituw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ziQ1oENLEUTfJ3CFVh1w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KozbPXype7knzSvleFE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GM3Pd1lwmytpYmiKuy5w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m6ChA4a7XB2uoz7SGrUw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PApZjew_AI3vsRf6ek5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G0jL9l44zP6gWshh50O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ebYs6ar3wJm0zp5WEjw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A3d7EelXqG4dXBbG3b7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6qaZUXTWivJi12wz5O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Zr2zCclrnvgwARCo8WPQ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3LaSc18k_a52ye4n2qLMA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1YyBMT_Mh3.e_h9I7HX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bSoggl1Hl_aLxEysAUgw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tATDtQPzxW34Uu16wXp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JAOn9aPhTynhX.F_v0Ew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lAjM5E0E_GoxHLhJlsug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c6S_X0cQ_7Yg.cchmCK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0wO1Ou05IUcaN5BcVZww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EJVlhkdEHBB1MmW0coBA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7to_6VmFjrYu0muXbuZ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ikkldbV4XetAqazI8tv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lgwLMIhWGKK2.xtOmU4A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c0YaXT3VD0dafx5NCkAA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5WJfJYXQ2CjACb2jk88w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ZAioM7wXD7gFLmN7AZa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WtKkerHhW.9MeK2ivByg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EgqKITUxOD.rt.9XAiYg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eyQKnXr71QYpNS1VAK_Q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5cdV_DGZB_B6zH7Ptte6Q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PWrv9bECOSWh5o5qVxmg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n0RB8oji_UMTdz6cOc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1x1lHqX8RJAD.Vx791m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E5C38P8d8S8nzMDp12d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W6Kl7SvHUP2XZ4aU035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_iI76bOXSz0A_Nsz17R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uZ6VWIA.3CR4pS8jd.a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ucEu_LpPJ_qAzwmZ1_x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eOz.cvzCToolRHEe2PRA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0QMmIPY2i5klRBa.qZEA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OcP1sNKV41H0gIbUsAsQ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wWTVPnBIM3gJ70gI7czQ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J0qsn31GScCxmeRQLn7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ZbgdD52IQCR4a3pZavF_w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_YobVcyMtK4bPhWaVOS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R8aZtEY4Gu_O24L6iJ4Q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YbXXa2AyLJ6dSYjrc5U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y5l46zJDXwvrUoD4FExg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MaZ20bk_iYHPNrIwIcZA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5jAICEQK2a560skIPbRg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VfkhaAxR3fX7cXGrQbY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phhFBjCffKaGYyUoKFjQ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7sZODtOVQN7uOQPux0M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12yCNHMoUSeOfMwz1WOQ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JEwRcBCb3tcanvBgwEFw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dB.PWIaH145CEeEv5R.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YtkICPnEbOgf7VN95V9A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rbyDSwzIJjzgyEwsxNA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AucPF2pzROZ1Mm9LBtA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tPbOBBXaXQRJ1OZmzxC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H3N_21W1sR2ZO77LSUSA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ZFmN.U.iHMx52SgzGpG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pgs4ZtS2djx4rlx9W3FA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mE96XQmpWv_M0QfczT_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0riNoaHvqkfA7CJUfO5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8TjajUwZEs9ED29X6fA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D3g70RJoSwFcDtwypbz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XV8mHpzOKamZCck2WtCQ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mkKzozkR1qbFGCzI0clw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zM1Mpzt0226CWW26IGO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lPvCXH_vEHCPEa6DbSU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Zi6XcpW6Wfa5zlwKxBAQ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xzkH7zgyjDaXShw1gg1u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YqOWjNE2qjJE16YcXjdQ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czaVD6je4t0M6qHC5zj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VqAay3yIndtnfTptwlNQ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Qk9ZJlv6n5E5qkVr_1bg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vD0xexnjgxCFeub8Qth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Pg8r.mFdqq0vTYKik2sQ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C28Kvpj9hykc4p6TRjs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f__cLGfkaIIGIOmYPqXw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gvfG4c4HS9UrGa6c3E1w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AylUhkYCxRnxDtDSkEJ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rCH5XJ3g8Vw28.3gEuaA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1fjCyDRObHz4eURjdr2w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0Rd1p3cdGS35_RZlrxF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dWpvWG3f5JsbEUMydUi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eNDIoJaEYAefaLha5H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u_Ht1ryh4EudKhAX44g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5Prtk5nqvzpJkdIyM2iA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HRxmvLtx1BUDKGA_qZ4A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92yBamSXdoBSTC.vWHpQ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SPXjtQ4jB84YEgp1X40Q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C8QEsF0Fde9T8VRxFp4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bFP33rbA.wky5PcS97mQ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sJs0V.8FchtYUNr.zJmw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QMKtCYSTCOyKyxTgBBu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fhM.wHkNnO_OlnNT1tOQ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fsi4DOpFRKE.cUHNmmxQ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T0eRXgpu3H7e_oV_JsY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2Y1WD.7q9jpnExtwHlK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.eAovwp5Siih453RtT7Q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TXaxMpvt746JWgU7vxnA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EAqf7.Ko.vS.OfYLBGvw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A8inITeNmKcQgpZoUbOA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BKO9r6Y2aQApHj.E7I3g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tfP7iM6jFw9eoe5Lgo3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oo3bqdoL9Mlhroa73v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SmCqyPA._g0DWzOxVtDQ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xkGZD5IP_Hv4NYc_bW1g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9Nk2l81TvrCRSkey8rl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MYdsJaed2wdoJkY7GHCw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go42JnA_hvk5Vbz50NF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hPnLjZgWVhOY4o18K4Rw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._r8ebyHaeoFL9iieeq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b39uxfEL_CYpUFM_9efg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HUhnY4zqxtGnAw0FGO9Q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BCgD.aq3YK2td8gbjDC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PGLkg19pBOMiIcJu3cQ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3S9VoK.Yb7G2xDnSRzSQ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.Q7ziXdnedUwzWFSA6P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egDLuSMaOZgTBzEu4iHQ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bNVuJ0KTxUDR.bXdOtxw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wXkXOE3AIu96aZSa4g6A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6Dm6k.V3PBQ4UgNkgIj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Mv.t03PoC.c2xzpj8my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laDhamtFkSVkQiYQU1Bg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GgrH42pi0YswHyHGFYi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mcXUlJYEJZ.ROtSTp.u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EVWud5jBOw9KzJXQ9Kk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j6XGYiQ6CQL3OmYx.aQQ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BiUUim9MwNoOK7f4UMlw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2aALI5mLvcmtHii67f9Q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5KR.I8nC8ryEWHqm02yA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SRYUZR_mlo8g3uGRpfv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7f4QwKJ2Q6INPCcH4CQ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el3XwR_h6iQH4b3HGz8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caQ2Gn_9MGStAW9rQEsw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Cq6assX.3aWmmW36tE5w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J0iP54y_bRI0SHVmfK3Q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lUUzlLVlnYx410eAXfV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L9HJwtsPVXv_3.iDdTF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R68p8inBqMujUEE_7qSQ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WSbW.tVCim6OBkIkgg9w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ZDqKoivHsIWb8C5DyOK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BnTHT1IZ62tSPRvDNIR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RtIToeW07uWx0DhM9OdA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sIvuWAmok.dSa_3dLsyQ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9.8hcKwBGtm.SJrlEWrw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Qjyohqgal3Nk1nEbvV0Q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sobfKjG_tem7qsiZu4I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xXEo80TjXl4b.7dMGFk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rro_4eFhFUchVXzw.uC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Ntss8bUzIwSgOWBuRgr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k9NQ4tz9O9St2N8oG2G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.FObmlZgEplyBUV6aEL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2wfrFQg0Du36NCw3TB5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NOpm6r_OBSQC03e3m1gg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giREdvitRou6vo6nmpJg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LBYHP7wHmBKb8j0IBSEg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O02CukxPIRGy5HaXvjvg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bhzRh1T2KDbtY5RedTt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0dAad0FBY8kd1yb9mpm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BZ54.UHWqNo3unTzFnSw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AVU1NG0rjQdhR0caea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jgy5wAgBCHUoBWa_aitA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5FKCNmL1kq4h1oMklXt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tXIyYnRikBYd.EL5tIpg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ep5LGLSqnzPHDBoEe2AA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2mmMr8SXVa3j3Q4QvuaA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L7bfV.aCPwMUjfREORWg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eppiPP0t_ym62vVVOyYg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AuWSYG43_UWXW6Qrti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JJSmEEKYrh_B1wfnhXs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32xUBI89Lmtyzi81l5nA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QHlvWI7qAQs04u3eiF1w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ahmR8HW_fhu3Y4DaTnL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stIiF9wT.EtWTZhUpEcw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BGOid_QDQDBAX_XLOLgg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CODMB.ZlVmQGYIsRpisg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3agnezd0_KdXQYd9jUnA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fhvlp8Z.6Oa13zYEWCtw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vDFQ1xhqC2QLdzEceZJ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3la5cj23JMFukBbVigd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ur5VJoqj98TIn6QSJLo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1IkvYnsrPZcaQDSo6flEQ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8f5loezrSwPnpVgkDnpQ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Ba4ZuUYZJekvl8tIj4H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JSkgg20CMnRGQwi42oQ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xdR5fwDDGJCB4OpqBr9A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_y1WM8BnS437vqgpvjQQ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n6VLjhkDSzT.ArK6_Qg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9sRWRVtx7DDKEwO7eVb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NI4CtjYQ.G3q6Nim9cug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joPrThwaHZCR05e6SZw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RiF3xl7FhePh_c8LS6SA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TFZCqT3dj3I4qUub0Iuw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HbC5Cwr2VO0gGPhv4ryW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yP.qa.fdDBgvWOYL5iQ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t0sBO7vc_QFAfftIKOww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ySQDcgCYgITfN.Q6oSZg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wIEXxHMhXQy610.Z8Hrw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rpUgXuzZeYs9cDGJR0Xg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r6h_ZzT7rBfTHS1S6I5g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R7RZ89a0Z9MEVf7Dd.dQ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hvgoHDc_bK.ecZjTyge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KO5tEgKdsv09AlxCRai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e9Xc3MSoxMqBnY2wx7oQ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MbZuDVI7gG69CArHfB3g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TNBsHDlqkp0jFNNy880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BpnuaP9ftNR9dqRRt_pg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P4Fke48JIlaax0knpdvA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_eFMJz_2wMta44vwhCUQ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A.wTtj3IQGQWH0OBu2Mw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cXZayv4aUmw1jOjTLq1Q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ZCUo9GjlV12jwYH9Xl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MR1KuQLjm7SSwNM_O5h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zn_Rrji5v4OfxuD9VUx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Z_f7sNwG9CSn5oiLnyAQ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f8VgoR.XhVA1fHa9sGu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4rsh3KQZOPbDpT83zqg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5beodbuM5UfcixhRXgXQ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KqNCZ637RnjDjORA3tpA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_KAe1GpXjaZkYH9c4Xbg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FeEMaV9SknmcG8Xa6KD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KzMWszR838710WDa6WDw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37IRiNjdWYsbpL.46qY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WaPShTVtWYseQgImMfKw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wJ0lmC6iTNbWHigeEqsQ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7y8Q5.bMnrz2swipvbQw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PWVwOazbH0QtxNT40zVA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lcizYoVlc430CYhYtVng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tS83MecN_Wd7NtmEcCnQ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bJb0VG3xCR.VSZjnWbS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dIJDsNxe6MpD4BaRvuG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ZA5vWdUpZoD3yXCFVfKQ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zTseO1pNLUJBK3Cr7Xn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uGuaRMOO8P7.9utbiRU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uEuELw7Wd7Ekkk0imHdw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_IbzDYrNQRncdMP5iJVQ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Y.32DvKf99PdLxWwBUw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MmgFlJkkNfVnlCY8H1oQ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sl6X5C0wtWI_SJVFOnTw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ENJYGLCHpcYM2QZUk1Dg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8.ls8strHFLNpl9mjGg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GKS0PGivV0tUPRbDGJ8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gkd8PBkWBTUhZBeg35Dg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Q_XDKI0YJx3KP2V4Jda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iPa3d0KXJpyp5ZXQEYwg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oVzGTcyoyv1pzwjS2_a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DT5GmESwbmB7Cph7N8Kw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23HDgTAJHxshys2fel8A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GQqGMkKEw483Pv4nvrVg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pI4iryxQqM2fq7Vu2qg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6UPn2IFK9tRWLZTHcOxw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1uoEXhxJPSzcrn2U6CRIg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dwdkjhVYtC8XCXAAReBg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ROsbe0Ujcj8dsPWu.GWg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YWe.MQ601Usxh9WG7j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nzZRFBLnO3JNIKAiI6Sw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UFXNIYpmkXVXlhNwVbmw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wVD6jTZ05Aq5yY1MOvRQ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BZDq2K.ESWXLCiqpyUpQ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1g0y9QJO.Ve52vHX.SJg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hPSATRXg0mut_tEt0A1w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9S9blzsYtPYIdwp_Jtg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PBfxL__snsJg_DlZRP_A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vD.XObhw_Mh9ojPKqHxw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jve0BZaUAYC3Zve8sMCQ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fIdM8VP18x0EdrtnyL9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okRs7MS94a0OyL0N3suA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KpNXDzxJ.bOasSyqsU6A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qN_yFVUrcVw_H3.Ds.2w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YOE10cgV1z4qZ3rez3fA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FDr93cxTljcibS1fUWW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fUAqV0Lc4gg3_e7gd9zw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FFsF.NSydOL1zCcfwvA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uUmg7obTk7BduPJZxQWQ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mjKl2Z7VXHggsI2FfUFg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TInTCzwquA0ExiB6EyCg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E_5lxjStLPDsZC0UDi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X4XxmBTMDd8hZ8WtcJvA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82GSMpkjFcC_gkrg.g9Q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7p5dz7mXw4Erg2X8Bg6A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GGg_cTCUYFAGHV_mPPf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Escy2tZQTeR7Wbrw7mWQ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_w42mR8x2rGN27_RsaKZg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RfwALTxnXVQajOzi9IgA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3ec8NnvLwF8r9VZS3Epw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8Iw.z6hD57SJ_.dD5Abg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wHSMpBCScBt4uW8qIVdw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bLhiiixrZ8stxKVE_TU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Rt4oCoei.44oNnPmwvow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GgfTU9yVvClriRmWI2TQ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55MntS1XQ5BQT9X9.zfw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b6_3D8Ap6dDFzfHh6Prg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HfOlm8ekEqakdvbUvBGug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iiAWB5bBXrOzlmJb9CGg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JZ7dLaKuWsBghSMxmqBQ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axWM9j0a1b8mjyMdOCMw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LVGW.LfX2Bqvqnzte0J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TB8pk2FcUBWts153JeXw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rPhlcYm_vIDd36CvRsJ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VHZeTM4_MxbCgEhrWL.g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fHGBfz66j4fxkj9evjCA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6Wz6I3JqBqgZ2VHlS0Sg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97x4UIwDCuMoL8A6c5zA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xeBAnYhml69Vu1sp0wUA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HM5QjgU0BrgV_vV3NKuQ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wrDoTqaacACehsnUaZA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7piKohwfBRCvzR9Fn8A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oof_LKS0DBWBKQPU4ffQ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PlxxC4DqLa_Z3YMX7wpw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a_c_rwfzJ1I5w4aKZPN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AiV4SqmpBFVodapgdoow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7uVaSLgnepTPzW3hcXzA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iH_BLaPCag889AcKWmhQ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3WDhvT9pGIA6RkZ5pY_g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TZy0A16xddibWZw1Cftw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fgPm_611rQY6Ua24Ag_A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z26fRbY8WzDJ9vPNQiZg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WEkZ7PRUhHpV.Zaomeg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DufyRt3zbSk1uBG7qppA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pZvnPx8L16ws0OZLsEMA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kiQSwI9QqhJpRY265H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hZILn7LeFUogE9ecfbfw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tvoPN5HAGuHD2wbWdM5A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doNbsRjvjK71mxOWrf1A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8.p6BQ5Lhdl.kJe0pY0A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jhPoEzR6W6hds3QnQ_w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zpxSK3hiZrcUZNMfm.tw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waBQ99KQz.ObPtUWBXP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v.DPg27Ur97efSiChljQ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jEs7ZjQ6KR9ZWeqqyrL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WQ7L4YlpWq_PkImNYXVA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JLytWbgS15_ERjOj0at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uKiWJcYJMgcSab1VpmxQ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iFr4hw0JLN_lciSkTH2w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vMrokHQ6CBdShPtbtkBA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VCuHQTLX_wceiNdgs5U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biShuvdCzv_AHNqKXbD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sq3E.6d6T85ZPjuwD.g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kFZuJpY1gz5urJWEIW1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MTERbL6XA0XgAOiPRo2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u8spiJsty4IrNYxYNSN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qSujKLHdNT6gsP.yxJf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Q.Q9L_PWoxCyZYTEsc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CFCyNPYwWnafoQ4XVcv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e7_KlfRA6QP4nOGV44.H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MW8TWFsjjESMDX6OA7M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zjRicBAc6RibElTzSAM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ouDmNjbzzayTyMyXBJm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yFLGbxXIlROMqXyWsPn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6XeSkZlLG9H73bOvLo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sbjZB_M.00l6fcymGl4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0UZ8sL0NZ1OzAdmrT_D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FdK_y4Q33WU8lcQKBOX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PcE6WTvXMb1RBu51UUI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qFaKBlHjZyotFS10Ghw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l81ruRaQmtJ90Jkphmf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X.oF26Z3bJ4SKL8pV.u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cOm.lDbH3MjphpO9h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7aN8xDQMCNPmIIuuZtP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t7bSxTZbHvhG9autph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1jl5h84QhlLZ.vnsyBU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FCaSu0qQhz3vkMBJ3sv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0F1bGO9ZVIU7L6wIsQ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vJpyX4gpizrE9536U2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nG3PSWseXBTs0cTlVH6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Mkjui48PfYqvQyv1mWJ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cpE4Cq.1ptOIZgwzh35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APsYRHV9Efv1KeObDAi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ziteF4ocxA14g2F9bR7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ZsOL4PeuptSXVjzSMh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sz_qlyIFpb0GZr5BeiJ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1Zw8cZ5.5_R_7jv40H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HI9M32rCgirP6z.B34Q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.U00GGo_RMlRBTJcNRA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w4mJSH5gzZb9JKeOsRo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XboYzqs5ORqE.xHIX0F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ntJcMJL.ojOPmGyKFEn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BaxJ8xi6tHC5_9a4BPA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7mLzrLOWUqVds0uX6af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aIA1rtxOTBasVSVrYQo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5VLzrj_xep3LvUL9z4h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UvNCPP46CleiIcgb8u3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uWhfremsa04kpmb__Hf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rKF3WbYEcPH8QX.SX4v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18vuS9a8b.M86guVJX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do9IR7J8c.Jxcadq_KRl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t6ulvRhgiuRH_Q1B46w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LTZy1VT5VKsxCYaj2sw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nDDbbRfh03ZSTjSEuD4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8DrrLYU6GTZ6ftJkJzR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mqJShtqBl_cfpC1hnzU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Thc_FZILbYVLDZwyEUO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axd217NoHu0RXYfFzG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1RNbenFxvp76Lmi3Dmh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wV.p88Ac.okxNEgq1U2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ZlQbZjy7EY14H6uFXo5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h9p4HrFVPpgJo2mQvYF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SbBRWQb2AYHzl_cpfUe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Lxskx_1qM6U8QoBnt5o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YaMB6nBkrdkM0mWqKXm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QleUXDinLy3z62ljq7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4gu7Q_u_s7Z1T.MGyCT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sw1nJ.jmGPEg7ugETrZ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OPeRQUdDPNqkHXJsqgj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fqnbd8m.48ZvQuM4dnF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HyBBztYWGw3Sgkr17DL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txtjPDZ.IZS0SzP_0nh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yGgKhQpyJnf447.omZs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hdTv9kcBnuoyg_TyjNr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c4vLsypoXLtYYWBDBLd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O4mOYE_LtNRzv_b59Pi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5SGTflQlXwRaOu94b78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DkM91Qbq2he6AcSka1O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UeOlAKIoSaRklrdBlnZ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LVwcBimVf36nq7._jKQ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j55WjSheWTqhK1pIoIH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YiOI2Xa5snwu8_QpdSF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si4GBAUqEDoUlI8jBJd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Zn5pTVyiSw3esSZNNU0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MbHMkHzwFJRexiyixWo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mXI7aEuw.xCwN4KRTXV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1ZN_FWPglWBdfbjnfw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l0KcO5FJxmTDPb7Ugf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PT.tEB.EDDCUbOXW7F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Byc1jccIVA6frCVmDss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JeEdX8A.UXnMdcBJx8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6LKoz5xdaY2QBcfbT4T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devcFqOUc9sDHcD3Gh8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aLPKNuEl2gnI.DVgzwd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_Xa5bdy8DXUgUEvNAPu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vFok4gAEFoee.9eDzYA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LnO0O4ajRk_PT4cQWBN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oujowKpbq.y4nVbDUzL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OZ19.C5CwoS1ae6KJ3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9cdYFPE4gxyUgkcODcn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xZN1Mx5.w20fnX61_gn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rQvhyflYX9zCXb1UeBr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gPRidCH70Jd.VzQvQUL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4Ls3XV_jQpU0CFN_cda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PFOhBcT5pHlpW9bwF01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soMTGzPBY0Il.WI5Wwm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7lvm0auNQY4zCY.m_X3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4MagEoUh65IK59zCNkp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vFkTcqEMXtHnMBFsSh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Q5qeiSKY0rWhb8l9GYA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e6J6aG9m5X.YF3ZOtd8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MiQHv70C6t7R.pFk3yG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uSjXWYdv1L_rvPbZfhQ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MfIbM2biuFYDRxo3SDi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iHHVMwsdlmcOlF6IdGw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cTIxnv2AOgFcuViMi5Q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mz.oPXLpZWHjXxjr1g9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txpY33TrfP62o8tRFp6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NZNULOEPACYizh_L._d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mQk4ABFgAsOPcUTMnG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unESetf2ery_dRxmr53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iijeiuylSpEPWtiKSkc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3_vHH8nU8rn_sWRZnGEl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f.GyDdvdRlHyQ2CdE9b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JVCQBAhbvXk.z90eedZ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3_c9J69yI_MqXIpCvde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c_vFKAyNmOGirPCBfqD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uKCq_aYO_NFRu5ibR7y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c.0dASlx50G_5wOoEVu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RkPqXLmsJSRV8Xw_3S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8sW6xIukJyPN_V.c7OQ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d1ZnumlmIgXNrIJ7QF2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C5Nr3CuIjB8U78iiHNV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HNRHUQacfhgqNgMo9cm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TmH5t2gBBRwdiiWFzZ.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fi7G_AEW0f7A6U2C7.2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cTu1cwBTHz11gGm_WMB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yy4YMszThzONvSyK4XR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2Jun0MnOfFx2BUr89Hp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vZ1lBtE0JhcPuEjup4l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TmP.T0dQLcDTQYtOTjl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be5BuSMuDVKKHp3sBdn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KIuy6GEMs_mQlgyNLqJ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2YgrrlRYecZUEHHBLHp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vVHFJWQnJd.LSthcReM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OcYoOyc1kvj7nrLgpkc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RpD82AEl1_M3FN4B..D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Qie6MBok6QKrDTuaqqn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jyhXgUw9MAa1PDFn_v9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PShnxdKIyq7MBNoXzPD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5WnIe6wrY2z7badphij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8Pbgz1CA2VKKzigOkHk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qfx7XDFsSUMXGM94Bpd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Ee_oEW.uLXqysrHAGsm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4RID6ww3ojwSc7jC_0C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ChSHNic3u8gZcu4QeSb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SyKv8LwlofqqGHsV939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K4pkHmboNT09gy5m1TL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zMRTtRXgux2kaFoxvMZ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4oyzuXBRzlZ_yPX05N2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ACqxcbNXLYmDBtl_n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HhjSxn1HxLYOv4woPpd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iSZKMvC4XqjHOrMpXT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sJzqms9mmZ0im5ct87B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h274RK18CMrv7J_kelO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7GIs93WI5BaU3Z8EwPt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mY.pZ0ZMnCYGyVg40hL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f6_ygCXbqJBcayIjacj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skqw28Rw4FfqJiuyXfY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5bvs8T7U6LnqlxqVyRl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JAZliE4g2ngeWwZ0.F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qPyd6W8YeOqdsHVEX8e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obm0VVHzSDZ7wI7EXMj3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V2dJw8Uyw6TMseGgin7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eN0BAb.wTRfGHtyjie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WkzomTS7pe92cUCR_.K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8n6l6rdLERrIccQAuBy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BTLyLMEuyVhtoTfw3.6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8ClLpenemtDjuO1oLhc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eKZUEiUtZRBo7wYlmIp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AALrrKB.FNJQii5oyXx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Oo4t7qBr0AJ0Omd6uac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raoAgriPV7pgoy2rfuB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4eD5loQNYt7MV9dAW6E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5gmr_dKQeZ.p2UiHF8.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6IdsYEG5_N1tuHm_xGK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cq8t3NJyssS.KqyrVE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ji.fclk6iMhKZoEwQyc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QHbP.FgqX.Axq53CxbX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s8GSbW_TNvasJ9HQyKx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g3H8aRlLm6s7nAdCvV6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RS6lHp32EBKH8pU1zrU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VWLkO.6QF_T.kkJMIG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eWAWUofsi5XoMEHY8hW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cM8353mMPbf_sHXaq16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PW267vGt1g97XhgwdY7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QBMWLfneGudO4onTTd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PxMnyL6PwacAHDJJ_xZ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62.3hPEUUEEQ8QJTvlg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vx2RnVEyP4jgAWClYtl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V1jmdoAH0OHLkb9Xu9I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gJDxTZkz1TxJXtDvoRN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QtTjSQEEg2C.fAv_u9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zkCrRFXODBJsIEoW4RG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VrHz6ot1dJr5oL7379p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Vxi3GZqtRZtEtocfBfy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Y9ChrfXkWUJhZRDLl.h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5pLSDfJ_fqZ7LM549vY0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vX3BA_oG6bGrezV1Zk0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.6U60ZEEgdjXIY4oQSQ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1aaAr16lYkz126sYyfU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nsL0KRogsLlW6pabDWC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uzvGiB4qpTgS5dwo9dn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DnWT1c3Vl6DUH.dMedE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ELXDCNp2jEbW6yY7NVc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QTaHZI45uoovR2L3SwB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pkUlGA8hg5LvONPhrVy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zeWpEwTjqgTRZZsYF3Q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Dc10B5VZHpwLuNMvjrK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2DEtGs.CG0_ReZz7qLj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GmolwIXBV4Xn.atIsUr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rw6sMJ0vN0g4KNOB1uY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RuVYLDKA.fB_ruZD93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3MSxyLbjIXA2.r016d7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7Hph325SUBEzOjCubDH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3JnAJEpKSyAQxOt3u1K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uNU51WFbVIbnkb5Dkdy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yl9vBybTjX2cIWfbxYV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3QkF469I0JwI9UzLv8C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t9rqC6p9Gf_O4InQFWo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zNNModgp2.MHnhWkLQlg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xlSmcQmeJYfWyW5hWyV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ZcmYgDrE3a_HMEy_8lk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nuvnBbocF.pD9.65Nd.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.f3ZOlxeVDQxH6vAjJl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9VvHzg4.sCfHAg3HEm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CVIzT0cYZvQGef9rmcG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22fL6lpl4Kjw4iDfMxS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o5Qa6FLdNE15VleoG.3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NI6FYAPgYvTjW2jwtXd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Jc9DZ6iWqpkx_uNqwJb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6OyuHc0mOIiYVwP1Wd.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qS1uUPLl84nV1Yh88UV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0BKySOdM_dl08inxafl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_T7HNcgKphhKePKm5IL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k1UZlkPTW53oOuVoaBH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OzDFLU.37e3VIJJa_RU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w52W.uBhBTqHS2cox7b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Y5grmRzqlwTbn5Dbhpu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d2Ta5KY2tcJLU1hTlX0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oJ3DJXcbs_dJsC9N3bF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wN1Dv8b3kOOzHPceORL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T1Ki2RNxi83sTXNr0bC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DIfCVT.ZhVl7yAWGV1m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pvo2zrA.Ih_AaADxFM0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s3mL03z1wizUdZgT3li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yzke87ujEGLKN.nhfR9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aviTsIVVgl7DV9m9gDY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8aMQ2rb1wtHmXZL5z7b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s5DxwB16vMALPvfEfN3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yTm6Ja6FmsFxdHhfZZo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nM.ljMUmPhmJmocU3F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RO8T81IlKnXA_Geg165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7BAzHQzwKgU1E4.EGtj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sUYV2jKjF3ubd0zzq7O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dASiywYLrBdn3BL4oN3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611PFZPh.P9dNtc_TI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J4.Rb9tBqGzVMpo5TY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Cg.pvJQD.4Uz_n7DHJ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cMs3miaoA1AYM5UzWDV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gVKYbRZKOlQbjAEcMl5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JfStBDh5cJWKmd_jsGP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dlupSnFl3TLVlDm848W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VXHGO6yQUC9TQlP.MFZ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C19wG6DlweVA_PMeHLe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v_XIQrju1cuAcLF9Li2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9ZKhJfgygyuwum6O7R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z.HJNixF5QOAqjGelfC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yue0lo_1Y7d9rF8VM4U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n_iEAr.JfyT3DVh.Ul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QP_5QbcpxYiUTz.JE61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RfvxKUnYSdamoEu8xOq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8p3LQu7DASuXmiys.VH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vaMH70Fa6xnnKeg70D6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uez3_Ub4PyluA7fWzBj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y6DgxWs9lvpNgVUMgzl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Ymq88yeLFwmgy8RYonL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FOBvNQe3GGfRNitnF_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MN860zC6mSDHkz5vGuM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1F094VKt_1dRs3aebjc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rGZ7k9zPLeOM.i4zYEu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aMwevBnol.mq5aOzNn3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PeGxMf.G4JzvhL3Xujy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0aiSTtUKAMC5KtfqfWb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t8FGbi3y4QD44tEOlFH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dQIjjsrS.FKYLoQq.3l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4utt5UDVmhl6MIFirZU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ol147ZbiKIM47BfkChe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ffjsuer3hW39d2qxkMV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Kz._55lmI5C7CNW46Xy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OPG8RsxXbbV6xRFf3sd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YFOxyueIsBnoCl3KZFz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yT6UPSm68Om23WZhPvI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GFU2Cedp3GNwHEJMtzh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Ofodnvty2BgSl1CCwWp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YaqfdURMIyEwefWyjXv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oNbWIPtKl6P91UNgvdK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PO6lOtx4frkqpTu67ul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bF_KW2Ne0RFUEB4JuGA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tUwmYAOQoiAiYlgVPmL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pPI7FDJAEHyCNlUeH0VQ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bqAR0jSyqEy_OpsXXhK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kDzoT1xroQQXjx55w0e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zK22LVAyxi_x3cpTLD1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a7dVeGIhucY8HBpSrjA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82W_5HEe9CN6PIGgjSN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l5UkLh.dFnqRaeVCCJ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gDJ5EDFmq8QDR03iT.U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iPMJF5pNpggxiZ1utf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TlngarzIltoFJXF3Gtx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JmAAnIAbPmmu.DF08jAg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sTqSuZ6Am_hT8apC4bn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9N5NicDWKhozww9EKJv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KcJj_nDeohTSLzphfiig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43.JpLT8of0xITicRy_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.m8qHDPyKx24ruOOvV9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tp.dV.ZyNiP6dh.o2uc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ZO3Attu5asgYYav3zx2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6ieTn__YWGK06_ATNAe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VysHI4IoqkPbxFohKCr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B_zrq6exH58qcNtb3GQQ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S7XOWK3xYfH2sFAg1Qj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Mr.qk2szsHVXD.QgG0z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Vs1Hkh.fmX_oLnvrcp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07MkKarH47zzLN1wtba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DdOBnJSlTo.ZOYp7rQg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ZbnYH1Z6GijvCWmd.9H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qCDDHBZiGBZSj2SQRuh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xFF3ZU9uqKDzy4TABau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.oUOzwe5QlDj6TDNUcE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EpyC4kQl8Kt0l4OuHZcfg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M04WiZ4qxVCZ1ogCMER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mmWUboWPM97YLpCJGMOw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uIgK5vT570507rAqt7a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futaXoA9Mbr.jA6CAFi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JHV1eQ8pAM9oo9.fiL1A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CDzluCtamWYYAt.BUQzQ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TfloBJGQQFCGL.0JZVJQ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QkcucVhpFFsr715ta7X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dVdjx8zkECjX_TKa8yV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j9yLsEAZKp4E0NQWIII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TvecsBdmaZXNr.ofmlz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FU0Db4gBC0qKNvs3809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0AcCJDclxcuLoxSkjcr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.lu5nzqsK0FaIFB6IU9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NmWUP.7UDTj7HaTGFU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kyZ87LXHKNgnl_.fxvgA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wg1sTbsj5c6vWozsEcF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HvGvL236fimjLch3pjh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BiGv0sfKyfmi9JApwWEQ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QlO62bDRGoxZHKw7e8Yw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qTHw8p_E3wyoDV8n5Bx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i1zDs39VHxC3xTiufCJ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sdZiHtOdEIHEDStpWAu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hxzJOgtWqkoQdF80gnY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V3e14eEcwXjrwrZFoMq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UBPBO0_CIunlDZ7kh_b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jV.GeFCErzPCq3B2SU6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wAyMQMeXAbmOrL8DhhAV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R_wd2TmupQ_PXNO4DZIA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Lq.XoEKLSEG0oIzbv3L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ck7n.MJUTKlZ8uEFc6x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rPuIGIJlQbbGoxltEG.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nWLvPHCDCGvay.Z0d21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mJ3zYPwBiboHXJxYjuw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CP0qR6kc8eheT8aoIBl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PYUrfixY_.JGARKgBQI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rhTb0suVriVxGUA1eSz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vd_37SmLlzHGhshp3Gc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8yXfCVqmjIb9vlJJNtUQ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1elD8OiVQ1FqSI4aaLOw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Zj5AA67gvoBfmSP2LURw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ZpgG2yHnpHa2fBk4nTa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QiCfewknPim3cwE_oxpA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PyX6gjQWTqftInHaEDd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6rcoBOoM3JKMjpNejA6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4kJglIiUhLRctKZ9M4r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0elU1r.w6NFuRNugBdM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KcGHCrirHt1fuZZSq4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MwsdBTjOxVIEJSHPR4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_rGIkMW3o6ZTaeLuGn5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fDyfQJSHSXXgga4lV8g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pRC7jcS6PQ.jFt2k5IGQ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kdiHGT9Y51AyQ0ZQMZC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2pR0xukyRrTN7lW_sYD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sZStEECcEAeCQejuySG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nECnHQ6YEQScIvf95kb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O3aEORlAymJkl.Es_6J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nNdujs.QNZWRYuC03CE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eMi6tuQRe_FftgfHnko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YxJw8vjH2jp1nETv9p3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PMgGTLTYHe4uYX2O0itQ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bCHp16PljjepshNru84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RWy6Yv.AavI8ku7kE6g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X4mvZEyLNZ7BbHxcMe9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5HgrDpPT4BeGkgaTDoy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Zu5CaskRT4pno.uaVl9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FL8XOPi9eSIvpzMblvd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.08MJ9oBGArL8ITLdshw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WToKrZ3LYwcyVJwPE_v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E.EGatZc0esrb9PuqiQ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17CuuYZ0TLgGrLnkuK6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FFU5UWergnIXKDiyh7v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_8kSrNLW7luTWZUqfvn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pkBgQuZ5g.xH.3R08fT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tFq1vViJEd4gJrB2MDe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ju5c7Yxgl0CICWAw.tD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8zzAjbNDAQPXT8L2.Q0f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J9YS.zeCGBEWrlpZtTQ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tqSL.5mxtaA7zGUahBT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oo3wRnn9ayLhR5drFTA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8xpDcMEl.F3CAxfHqC9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sXsCjb7flLvfT5ia61F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J2U8A.U4KAaA0Ii6QuY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WeWneel.UbyapcSnqkl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Ao2FS7RBf6zUMfKpZux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uQ5iR8G8nrQwcILKBlW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ekPqSxpNga_5q7abJRc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rjOxCHqczLdyvHLSsoWw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NiAIHKLRIw8KIoA4b9b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Q3b2AszheJ8Y8twYNEW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mRBjsaUU.OqRwrMeaWF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3hpAHpdrMgUZOOoHm8B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B7BN9_lBkIIEK5bF5BLg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6miJYxYiS6CkDn5_FYX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c_crnYsndgRPLg5uXPzg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ufA7AlxsNR0Toy.5278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ipsKwVVu5YY_5EzXfN0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UvtxQWXrO.Sv0nKrhK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dYsE8XNaUlQr1JxSenb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Gp57t5CmmaqUHPZzNlN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xm.vyK9HLdMNLrwutfv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j3HKndxSboJSjc0kxC6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KGFvGAJRi2CGhmMeNUx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5qnGdb9nSB3w.hK5aAN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kC4Y6qiDxhGXYOlMYhq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6DR4gQSmSXRkLJefUw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DQL4UaAd_Xt83hJohdh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m4eojbBitL9J.HhtZAb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A4Hd6qkApaIuwao8Ab1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1K7Hk8B.oZS9Et17olaQ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HurIqTeu6cOZ6TyXMVHQ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_6VgmnnzePuYrKfof1Hg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jmKa72tgNmZETgIG_sS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tdZpVqwdxjRHwS0iSHJ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UZ.4qYgSZmg5gTQSl0j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NaGzLXlYMX8QD1gV5tQ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N6c0yu0d4ydVdF48s9f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ODp2ymb8Ah8MUbidM5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DH91LbSloxVNzg_SIPX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JRX7Px4tUnkrViC74uUg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2MRTziqD6LUlwGJkhGr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W8c5i5jBSpFuEMzuERfQ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k1lNi_2tmp0xg8kxpPxg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GvKXDTm_9T3HtdzC.gd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pdtX7UohovgkB9n8lsc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MzET2xEWrnbzSuJkDDM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kpwLW__0vw..ZgeIvrH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WWnXHGe2evH.G91CMW_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wlZh7XEX9hsop2bE4Mf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a9e0FHKQ4jYmSHMsPuBg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ZcVdLQxyprSYzBc6qld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TPUJXbHaRZFrt69yp2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IhilLM1YQ.UxhFUDoLZ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t5s4KEPA8eX5TQqyvs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E1.0jf9vWn_u9MT0F5O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bLWJoEUn58lnl1CkHp2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eIe7Ta2gtMxqsUZH7cc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fLbmLPOhk4s5uJLEgrJ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4wpIPF.LP5MXhSXCC0H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6f7iAKnLozN0E12jIhrg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TGY8zIZeqW57RLcMCf3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.gkdHoJze5QGwTeCNvI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Kgkj6Mq28zB.bz2OqL4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JXdXI0DLKHZ3fTZfeq6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IlJKRHblN6Twtkel1uQ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Uwg5rU__XTm5ruzkQ7q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6C2yQxoQn4wgc_PIwc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DdpJLfgKLz4IeXCSdjb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jtnc76BVALjVnkKGKW0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vO.JYePrMi3iIPBGGnq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kTQsvY0h5a7eJymRnfi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U11jDP.znwGyunXU3R6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xtEhSheWWJcPMzecQ9c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l8xkqnGLNoI9MtcacJT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mwcdWQBNPDH6mKYwU5Hg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2or7Ls8ANimlUqSFpOo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JmezxGmru6IudZwn585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BF55JHzidlyWD7yKON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4knBq2_R.PKiEB6aQOjA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h6fhdFQAGoVROzQVA0r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yrqRz06NZ.UCVI6hKUU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h_C49T0dQ00FJKXh0Kn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7CchRQJf4UKt56Yv8o4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tLfGQjisQcht7kakAsbQ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E.EGatZc0esrb9PuqiQQ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JCwjrjUgYpMjmO4rhBfA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wxLt.9qAYWVs.wynlK8Q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mlBwR7TdB4840LlgnRi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RyNG7pP6eoNasV7Ynw8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tvp0OUs3U_mHMU30O1S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aTN933un0bnbSorfzD2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AeCiCyvAjOIhkqn.BAzg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Vp2c2m2Ikx6EXHNDdxi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phIV_YKL2ZHcbuGze0m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9.e.64hoZOCRSLns5S7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2R5JHLVYynfhp326ZVbQ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lvfjjYJ5O9pkG46jvJO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DbmQhoRrnIzGmgkgYYn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lHJEfhrm.H3QwKX6otl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4tZvs9F6M0x0UXBOL9X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kF4vaSAijKDG.n7T4E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qWexAZKeJjZ0x8j7WAS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mevjbxKG2vFd0TqjQrc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1qOVOffHVXQIhGoY8pjA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h5RE_SLRro.YLlYvjn5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YuWqjCHo9JO1E9rPA.g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FnOoASrbOYODmxZ6GGu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X7juLjEndDLaepTNdh0w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uFoUkEmZLK0VCzSLx6W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.zMDxu1cFc3vcDhGVQ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WTGMY8fcBe4IQNhajkX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eI9z07mnSNV7inqOgrD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xCEcWZnkqH6Vg86GxPPw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6miJYxYiS6CkDn5_FYX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NcDWv2Z7KWkvDg0zgWY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gmMXjBWLAJQVoluyNHy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LTPUJXbHaRZFrt69yp2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WZLSQYAOq_qBBgZf.zoQ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GhS2.unaDM3vVtNS2s1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LHfK6UIXvo1SDKDLw00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m4eojbBitL9J.HhtZAb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IIiN4b2Zt8zU8IKM_f.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wcdKMLrj40l0zbGkAib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yyh6_W4Zr.c3XeKOi0X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kpwLW__0vw..ZgeIvrHQ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bNnNzysqT8BG62GIYH.w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ODp2ymb8Ah8MUbidM5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VhIsCPomjnf0lZ4edSQ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QUvtxQWXrO.Sv0nKrhK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6DR4gQSmSXRkLJefUww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mOUiJAC4eq52vfoZMEO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r5QnLzyL79c0XtW.2BY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eY0d0XfTHMkOW5PXlAW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de8ZVU8ZQdIKPsgOuEb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RPSxy.rdgWWLjvvMn7K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t5s4KEPA8eX5TQqyvs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4IEnayLuGAMt5OLLR0N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zaiq9yQEiW2dq1mwdU4g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qmX9hwqM2sJ.0p.yg1J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6Dl5PMLmTEOZh6VgetA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1K7Hk8B.oZS9Et17ola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hHla0sIgOXLmqsI7vyd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boLzeSwgXjFx1kyXnEk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B0qvlJr2pP8VLPOeaxiA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ZcVdLQxyprSYzBc6qld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IVu6YRVVbRg3l0cZcnT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R_WVK.sUgAkcGKqifl5g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SK8TIiU7M5lFHuo1sHx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pcxnN5QecGP0beWotYG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_6VgmnnzePuYrKfof1H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L10Gmy_GJPfUfYRhuvL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E8W0.YVqwjEysoxKQ6v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gVKPF6MxYmDyk0Y822g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qXkF5HVf9rtlt2.KT0n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GfvjrSh.H1t3mxZCEJbw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DHoggMmNdZmlu_hIZvl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23BBiyP6l0o1.uH59UM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GCEIyRXVJWwsu_7Af53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waR6mIXrg8h89vkv0zG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izJWsPM6K6WKcgtkibZ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R1PNlIMVNqxkKUi35DBg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_O48_BJU.WtOtP_UFIm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h0RqBuMI6P4RTDwgdJo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I.C.wsVNv6aIApRbh.S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XG6CP4Mfx_bY64r7JJC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Voqch9RqX.eLXwGIqj3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qhm6Vu2MxFEgZHBBIRS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PyGk_uthePozgZ1Zoj_Q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TObyBEwCdNhvsas6aAVw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iHr_W8TFtVgC08E6x0d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S9l8J9zR1xQvKULFHPF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Ibta4T8tld9iPm8ZSh3Q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AD0e18hcSl8seqsWK9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4hEmvrS9U4fp1IwRU.J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qrFHibundukatyMbSA2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9q72UB5bU0O_WU2TAl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ugxe97yXzsR83vrKUU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QN0UxsECzZebSSp_U9ng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e.oAl4woeGt2mvNarGt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optb3JMavAtLK97I5Zu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JVomtdyb7aHms070S90g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Z_h0VeVMlmOOUTAqDZMw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PefACQNsBRVE4EHjuPm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zP0vSGYbTowm7VLAbEE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iI4Dyt47jym1BghbYVZ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GLMuMNCNGmQvJAKuDH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QMwsdBTjOxVIEJSHPR4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7Kj6H4g1OP4tIOTMCSGW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xMjbJb5K8FF86WEMeZc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a8hZ2B23MEmz1LAhzCP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6zQqciyVIORjWiliRDi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PWADMcNf8fAOqE_ZetLw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6raQJN12CCnPgBpbXOjQ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xU.aTZzsr_wFsPuYGyV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fQQOXl3aQkkRmBs4Pc4A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TSaXOkRAwLZdO2HZT3nQ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l8Oxi0OeDoTvkSI6iYSA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203S3PYuc5DPcIBG7ms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3ebrcM8J8Xgeaez3CqY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RsYjV93k1AliDeanSuHQ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0el151po4d2DGlyN50w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HEE_wkuWoSgxr3arQ8c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q01tV.997l2kBL3eIpVQ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DQetAw1T0I7f5yyE3oP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VDHrw9v6EXNvR5R2Br7g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U8hynE6iJN0sfQgZFDm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qB0lx1HTCstyHhvhPXR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VAqQMY1bwYzadCyZMwBg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o00HLypOb0G.Ats1xHK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_KZdT8zhWNMY9AAdLJ.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5NDlPaXv886FXKuFIS9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EvHPH6ZkHfwI0Xw8qYL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wcICNOtWWdFqCTakh0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7hQgw0JEpyVvtQAO5pG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T4WFqinp9n3SFjPrtYp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j6WCisT6hLrcIV9pZNUg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7N0eerTZojzZQIy1Euo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y_5MKokDsMDEx_gXt0Q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iPGxw5hw7yR17F2kEDe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gstAOwrm9ZFdzvFs6z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5CL9WBYYtY36YoUEqcpA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YLPjjHSlza3M99PQEJT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RD_UJBeJGJnM16Ge7tG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Mro7rXISxocOhxlg23qA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7nSQc7Caly9LTRB73xMA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ni2J1CjXXNoQzqXEGSd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Be8HjHJwxcsn6IovpqLA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z_8bFvP5n4oDrcuaa52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X0PZZTBUi83gsqqwn8D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D5pq_t3L20YOuijON5a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kWNlYILg_LSaBL4_Jt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jrpzSBiR7_qoLXc35NQ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yfQmMsVPbsROT1WqzBDg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3VypR3ZagLtIhKiLj3Yw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K3LOqjUkesVUYRwAHuHw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KmUKr5jnBl9T1PYhihe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9bV7VfFQjGWikz5YePk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xQVZn0YGt.9fUeyaveL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pxFonFdjW9.8dWvSNj0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zHHkaBXQfbC2n727aM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4hiPj1jo.vMCbblTtWy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7SuLDOYe6ECqYfIEXf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pGCjC85ZriHU1GTHXREw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zzJ2vfJ6stefzXGdToig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lKgHCl1Tflh5rbNgCWt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t84yHWCYUI9qJ3d2GAE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vuLJSqAIrgvm_NsmSPb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gQ9EAa4YCsC_UQ_bL1R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BftV7_8d2IUX3xanFXqg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XCLjC5FrMhO9J.18Fxv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T3X0aiqO01CuhvR.wF_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yz61TzmESUuFoPwV9ea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kJBE.1yDza_zCkuZP_6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VRSZ2sclsQmWJHEPwY2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xA_BgmTEcyYLNgFqs7N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LDdRgjeuRUpVueQwbznQ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GDLtCc9IElpPB2hnRAvg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A.e7p2AcXIFkh5JZlcO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jkpvg4l50MIMR7paMVA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2BwgCjqHKF6oGPgbqO6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tbQWBBqF_G4hYuq6EJU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tQeT1xajZsOlQADcNI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qPBx5LLscOW8p9D9b3f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0lkw.SodvEyJWZomh.S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e09H2oc_wXkIIEkwYJJw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AdpmnEZlxsBZLs0.mG8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nCSqzD4KGWjR.r8D_7rQ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5mODf9Wqa1CwSEbW8XK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L4.IpnO6BJ.k7xqpuRG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AZDha9EKmL5qRPoLpE4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1Bo15VuHVnCz4J2zygUQ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pfgsHo05O1it1gikzNKg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OjG.UtKMuHsGkQXM64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IQGGcKDap0JSsDMjU8J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I_2zmIhBWTIDRqLNxOa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WmrIxcBuuEiasuz39NA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ayGN0yxYfZInHZbLYh9g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goD5eXIRh3mlNNVcyKN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MHm5qKtfVSTcemGncv3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HYb3._PtJWDG9Eb1qUS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0b_sx702NpUDx6tZw_q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L8sMt62GBrLRynt.H5t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_L9pR8K98AVjHWBn_5z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gm36CAneuqy5rRTnWr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lWDiSVxLxPM3RwqeT81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9FbE8eX3fKXIz4U9pZQw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RlHIIVIwSLBhoI378zh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hTrTPENl6Rrk5p_Ieg_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RzJFkh5pFWdoO64ixXA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Bs_XGKHpd1VnWGUQ77b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lbRsfLaGH63LHPYd6Yw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tG_4flUniVs91PwqBONA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xuKKZ3ocxcFai2cObsj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mhY8lhYuOv.yQZzuE40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xKx9IqSYQ50LCJ6P.Y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hSnA94rqLRp_aH.1AMQ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5scFigkk.mvARHbsoex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2pP8igqpP_EU37KIw1pg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mgSgTaw4OmsQFuJsdWTw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KF8b7Z2BBRr1pO.j66Q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UQxxToSKH2cbcxQecMq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2M3SqQv0Ik9N9dpkAih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wrvghXbW25MhBaW_Lq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voomFgoZuN5M5tLUY.K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3V5uyqPDmGi7bHyyeAuQ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Ak8UjObmDCH1m3N.n4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RNcQTBHYISNCEJP_R_Q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8WbR6bsftVHFmzrVd74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FigPp9IJIgp_S14.A7q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mRXSGqo17PGeCJyaV.v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Tf4aYlr3VyCJUDGPTv6A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4DjSKEqa7rU4QiOqzbEw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LKbx4lOqOr20a7mPEAYQ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zt1I5p5kd.2yq9XatG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4HR3lmLd2BjSV3JktuC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mBf8EHhKb38YTEEEO2y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3RVmOluIIjwkywoS0ID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IbsExLI1c37pRD_qobh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.qFs6gRXFR0hWzmoho0Q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ZBsDdUF41.qiyqix.43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jdbEEjQ1FZA8PJLoUYiw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mmZaAgby_wArSm9stab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X07pkJAkxyWvSEFHQFD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ULaA77nkjT3G0R0hGqu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Khdc58.eWoXjrRP9Jx1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WfQ2j3XazshswG.eJdw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iiYwFF5QZ6EJI.5UmdF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DadlJYFQbFmzC78GxcG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.EsJwoXW_n1vZOBBzii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ylFbUJHxLJLdPcxK01uA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0sJp4aogrnBEhMOCyVAA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OEBe0Whe5sFBdGMhYAm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JoF12L_fTW_csn5SDJm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GCP95yKCNSy5RMCO07l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_yXc56OOjosbFAcl96R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DV7MOIUNwThjMyeBS3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qU7ESIqlIo6R7icDGqu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k5V405mXNYWFg4fq7Bh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x_PuT8bug_1tdchQpwB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S7m1ezhMfOzELNfCS2D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igax6jQ.SN5CHuxlSPq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24GiIVa68_WPmx3RsNlg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Jx4dhoPEJEsBLuWt8Q3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A1DDfMrc7v7vfKdcZV7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RJuTWIl75wJvu3MAJ9Nw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xWfdMR6ns5WTcz4CZNrA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sX1GvfE7Mns6PY6g5a0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.PcPztB9ZIZEfEpCccV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2yCIxEKSZxNXZms5eEig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cUIeBjFl64SRqbHFo4E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yf0SEOJsNG680NCJiVMA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LQc08VZ3ixARFQyd1GUiQ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2h..6nmuaiK7MxsGUTs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sFhkyL4i9fxONzrBDBl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5CBdYPh7HKB_0WXrD4A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yn4xHfpj8hEWae0S4TPQ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gktZWeTAmQ6bNPVniAG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F_dCy6GZy2Q.8mUlEri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VM2J7IpfVIO5fLG9PXt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Bf.oc7AJduRZ7j0qA9D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rj1UjEtIFgKpwqcwkYxw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cHz_s9k_rfrdJBzOB_q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7ocQ9DE3Ki2radlPcIbw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AhbDJYf4PKhfwXLGzQiA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BXkIX.4C4ey3Bb3Tkgaw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SSmI4TymFeZMGUZajjc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EJLLQZks1OQxoXz0jHV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vhHwpSt6T5NPWaeFwnZ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pOuviLIzXydwa8VYujU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n9OGMLdHWL4ddllG20P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M_Af2cAx3eDGbDakqsy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VkHG3P26.EfKTdOOQj.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2WCjXtZmF6rowaXu.iwA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hhHYztRDyjvBSXBcPRNA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xgeXFhdVI9jQmNsEnWm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0BhuSHxOqx40k.1.TqbA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tb7RQ5ojpbGfmWX5gOC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HGaq6GF_LRU3w2W0Bm2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pAWgacGFovQNutVAXj4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3z2QOe2ZzZmBwFSCRQAA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29ghsIOsx4YSPbdJoSIg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bT3IgcZxyymPVVed5evQ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E9eAWeN7RmmpS.OrYWP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NjhovTo.omidGKa1s5Q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eT0hpvi_3.C2OjKFZnU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0ixansPjWj5_MHgsdZvQ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p_MHfJ1IR4kkScYFIWgw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70glnsryvH_bsQKtatYw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h1PyLlMzajWL1Luzspp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HbLO3OcSxf43FubtQzMQ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LYHn643l56F0ajiwSLr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XgzVirxQibbTZN_SprD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SvJUOhCeo8Qp2Iqk7sg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9lmbSCynXp63Yi7DIwc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azPV5D3Ai58XwJwhizWw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b3foE4cGOIalzD1xKSFA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miE_t8RhisnwtaezsYE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tiR99cPq5jZe0fQ_ZcQ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n5iDGBuNg_ePHWBV8Ip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VVegEubey989ELLHM.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5fQYprdrWdhZotNViF1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0ib205w3U3tGSltjzJTH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Bhrw0wKOqUIebW5dFxTQ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twznNK_wd5R7yPMoJt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ceXgsh9FxSxcqLzT_lf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C7HIJAQGqDNiLFWBysZQ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hVn0RzADPVOixY1mbHTw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7RH5x0DU7u1T9usZ_bDg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bl0QSq5LZ5xVp2Ih0sU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5Ww0ofZQAp3zwXsU6Yx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MMtl.jf18C4TDEBG6SDQ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M6ijn2baiyvsd6e_6k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.vGox8KkULIEMAJ7oGRQ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E_v076z4X79tzNR0atpg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btA6iyum8ZHZStkyEYk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T_NDimW1cJLLm0XphLN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ADPgl6FnZGj2XeEOoyA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hGbz5lSr9Ga2pQfw6Ud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xzICyDksRcXBRcvczUwg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M7_sMVt3dvnmFiwOIO2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NQe7cjVk9IR7PEDXZvr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5evj7gGQ_G5TCaXDc4N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D6zUkOEYZyDjYDpG52.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UK8eDdm60RkwsusZHBT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mmiZjh033DDfqLI1qQUw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yvx.S4hTiuijkaaEtZR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LKhvdn.9KDa52jMFLrh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J35CSi7APhzZftmSgN4Q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ULs6DZaeHje2tOQYeyD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lABCCsV1ClbFSuW2RGU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GpO58pYOp04ZuLPHc4_w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GhQWO6Q3VuO0S4FKV3NQ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UFFxCrZVWjwRmvIRPJow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9k_gLb6DPM9i3VQ.TI8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bHdmFtO3IVYjgeL.Zql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9TOyD1IOxmtddi1eHjpw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FS0OQsrEw35u3YvTrh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5QnSevVfaQULNcDkzX2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oG7n5A4E_RJmlQ83776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Re5w5m_PEZd0D7m2l2tg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y.wPkT3qlRjkfxF2tqH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tHSa_YC5ZDNsJ7cB0at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IiULWRf2Ba8LFAWdpkQ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jYq0FwAThc9xBiL7c_Hw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o0IIFmb8qkT24Kqcu2T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Ogqz85OdU4dUfuHlUeuA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1.IXp1NiltU1fNsTvUh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rFFPTWPlPg..ewyvMhL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FRpROQMx2WxQ0SAsx3HA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pA8KTVL7vYrs8IFDhS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vEIXQoWCuR6Il1RPrSb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flklbQWk.2sVpejaS4n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01dNR3omF97wBwPelhV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JLiOpb8JQfjc6DCfu8AA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Rgf8ThZ0sg0NN4uCGk9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ee_d4Bi5kn.7clXGPb3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po58k1oPp44g8pBsW0Uw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nN7wwPLa.5L6M_9A883A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nCa_nEXPi4U8TtaRbkiQ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q7G9Wa6olG4HljP95J1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7Y3NTIyFOERixSlvky4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0.43jrILOSF4DAOzCyA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pHy4ZfoJRsbMQIrHXTU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GeCY97b1S0gzjV0cCJVQ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7UoS6zo9YepLiXjV0z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hy6XFRNBLYMAF5X3l31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eDHUAAB2MDWJtOBSOrd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Qk3JhbP2zIFMYlr_Jdn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9brlswCaOYDI9SmVsIG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.3AmggPP5MWqH4nMfha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QR745zz90iogUAmG0bZ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RKEUvpT5JhWKx66x8gYg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lC9C2tMnP1h5UmxNxtIw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9DGKDmdgwcVJok_Z8imzA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TJyr7jFzqGq_k_Oou6A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wn7e9JkSj9rnBD.fCB1A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g88f3ypGMg0wzl9qFHX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ciC0qCSWlBaNEKm22fD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SwXNrtDveW23N6gn922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uSXakkd5fKkfgDi5odB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4qV2i_cUD3os2sAcZWCQ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YgLlv.i_rxQn8Ev27oTw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_phi3BIAdK6S6Yu8MSQ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Ohq55n7MCmfG1H3GhuR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SMKPmXvEwYlK1kFSNY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S9TSWAcimqU528l5q4ow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01M.DJTo_qqLt2LR2CpQ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QYCX7J4XgubGl4gEKZ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JdxS7zARIohERhmNoz3Q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TCGBmuvlVYEI1pbB0VZ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r2UTllUo_IRJKakpoDw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0CoYYAtwHOy4m1fylf7g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T7Q4OTMrNhZlxdUh4qz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HpdA7.nvFMR4QNhbJCt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fBJiOJHTLm5l5PxAwvv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I15p7oAwW8YH7OfhzDzw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_C56aA4Ms8QHfk819Xbw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H2EvSgZI0K7tLPBE54vQ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akRbLyXj1JXZYLLgIzt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bPTyENRsUd3NRMOVpDA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2C3knzzPyKO2R6De_1RRg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dzoe0QMneBOucxKJC.nw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FW2SZmXfNma7MWL_rva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wnZE9dLw1ddmTrGhFWg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0zwztTdfNXfwpACuYxz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8c4xJ3lqCYbZp2Rk9C2g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.yLpLJM.waTSMzZuUQt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4ud29STwkLi1OmcvW9TA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7hRnCOa_Kvb9jF_VqeAw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uVhuVT8C.nVHhtNCMHg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Custom 12">
      <a:dk1>
        <a:sysClr val="windowText" lastClr="000000"/>
      </a:dk1>
      <a:lt1>
        <a:sysClr val="window" lastClr="FFFFFF"/>
      </a:lt1>
      <a:dk2>
        <a:srgbClr val="FFFFFF"/>
      </a:dk2>
      <a:lt2>
        <a:srgbClr val="E6ECE9"/>
      </a:lt2>
      <a:accent1>
        <a:srgbClr val="344354"/>
      </a:accent1>
      <a:accent2>
        <a:srgbClr val="27323F"/>
      </a:accent2>
      <a:accent3>
        <a:srgbClr val="D4E0F2"/>
      </a:accent3>
      <a:accent4>
        <a:srgbClr val="83A195"/>
      </a:accent4>
      <a:accent5>
        <a:srgbClr val="ABA22B"/>
      </a:accent5>
      <a:accent6>
        <a:srgbClr val="70AD47"/>
      </a:accent6>
      <a:hlink>
        <a:srgbClr val="0563C1"/>
      </a:hlink>
      <a:folHlink>
        <a:srgbClr val="954F7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8000"/>
              </a:schemeClr>
              <a:schemeClr val="phClr">
                <a:shade val="89000"/>
                <a:satMod val="145000"/>
              </a:schemeClr>
            </a:duotone>
          </a:blip>
          <a:tile tx="0" ty="0" sx="32000" sy="32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8000"/>
              </a:schemeClr>
              <a:schemeClr val="phClr">
                <a:shade val="95000"/>
              </a:schemeClr>
            </a:duotone>
          </a:blip>
          <a:tile tx="0" ty="0" sx="32000" sy="32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090DCB5F-146D-478A-852A-34B16FE9F3A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28820</TotalTime>
  <Words>4173</Words>
  <Application>Microsoft Office PowerPoint</Application>
  <PresentationFormat>Widescreen</PresentationFormat>
  <Paragraphs>1347</Paragraphs>
  <Slides>41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3" baseType="lpstr">
      <vt:lpstr>Arial</vt:lpstr>
      <vt:lpstr>Calibri</vt:lpstr>
      <vt:lpstr>Courier New</vt:lpstr>
      <vt:lpstr>Gotham Light</vt:lpstr>
      <vt:lpstr>Montserrat-Regular</vt:lpstr>
      <vt:lpstr>Tw Cen MT</vt:lpstr>
      <vt:lpstr>Tw Cen MT Condensed</vt:lpstr>
      <vt:lpstr>Wingdings 3</vt:lpstr>
      <vt:lpstr>Integral</vt:lpstr>
      <vt:lpstr>Office Theme</vt:lpstr>
      <vt:lpstr>1_Office Theme</vt:lpstr>
      <vt:lpstr>think-cell Slide</vt:lpstr>
      <vt:lpstr>Résultats de la cartographie des ressources du PNDSS (2019-2023) 09 Juillet 202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roduits de la cartographie des ressources </vt:lpstr>
      <vt:lpstr>Démonstration de l’outil dynamique de la visualisation des donné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de l’utilité de la cartographie des ressources dans la gestion de l’Agence de la Couverture Maladie Universelle</dc:title>
  <dc:creator>Rachel Knapp</dc:creator>
  <cp:lastModifiedBy>Babacar Sene</cp:lastModifiedBy>
  <cp:revision>875</cp:revision>
  <dcterms:created xsi:type="dcterms:W3CDTF">2019-05-02T09:36:16Z</dcterms:created>
  <dcterms:modified xsi:type="dcterms:W3CDTF">2021-07-19T10:00:33Z</dcterms:modified>
</cp:coreProperties>
</file>